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tags/tag68.xml" ContentType="application/vnd.openxmlformats-officedocument.presentationml.tags+xml"/>
  <Override PartName="/ppt/tags/tag77.xml" ContentType="application/vnd.openxmlformats-officedocument.presentationml.tags+xml"/>
  <Override PartName="/ppt/tags/tag86.xml" ContentType="application/vnd.openxmlformats-officedocument.presentationml.tags+xml"/>
  <Override PartName="/ppt/tags/tag88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75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64.xml" ContentType="application/vnd.openxmlformats-officedocument.presentationml.tags+xml"/>
  <Override PartName="/ppt/tags/tag73.xml" ContentType="application/vnd.openxmlformats-officedocument.presentationml.tags+xml"/>
  <Override PartName="/ppt/tags/tag82.xml" ContentType="application/vnd.openxmlformats-officedocument.presentationml.tags+xml"/>
  <Override PartName="/ppt/charts/chart8.xml" ContentType="application/vnd.openxmlformats-officedocument.drawingml.chart+xml"/>
  <Override PartName="/ppt/tags/tag9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71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harts/chart9.xml" ContentType="application/vnd.openxmlformats-officedocument.drawingml.char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charts/chart1.xml" ContentType="application/vnd.openxmlformats-officedocument.drawingml.char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tags/tag99.xml" ContentType="application/vnd.openxmlformats-officedocument.presentationml.tags+xml"/>
  <Override PartName="/ppt/drawings/drawing1.xml" ContentType="application/vnd.openxmlformats-officedocument.drawingml.chartshap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6" r:id="rId2"/>
    <p:sldId id="260" r:id="rId3"/>
    <p:sldId id="257" r:id="rId4"/>
    <p:sldId id="258" r:id="rId5"/>
    <p:sldId id="259" r:id="rId6"/>
    <p:sldId id="261" r:id="rId7"/>
    <p:sldId id="276" r:id="rId8"/>
    <p:sldId id="277" r:id="rId9"/>
    <p:sldId id="278" r:id="rId10"/>
    <p:sldId id="279" r:id="rId11"/>
    <p:sldId id="280" r:id="rId12"/>
    <p:sldId id="267" r:id="rId13"/>
    <p:sldId id="284" r:id="rId14"/>
    <p:sldId id="281" r:id="rId15"/>
    <p:sldId id="282" r:id="rId16"/>
    <p:sldId id="283" r:id="rId17"/>
    <p:sldId id="272" r:id="rId18"/>
    <p:sldId id="273" r:id="rId19"/>
    <p:sldId id="274" r:id="rId20"/>
    <p:sldId id="275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F9B43"/>
    <a:srgbClr val="D04A00"/>
    <a:srgbClr val="009900"/>
    <a:srgbClr val="00CC66"/>
    <a:srgbClr val="213414"/>
    <a:srgbClr val="15210D"/>
    <a:srgbClr val="CCCCFF"/>
    <a:srgbClr val="EAEAEA"/>
    <a:srgbClr val="B205FF"/>
    <a:srgbClr val="82D200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4838" autoAdjust="0"/>
    <p:restoredTop sz="94660"/>
  </p:normalViewPr>
  <p:slideViewPr>
    <p:cSldViewPr snapToGrid="0">
      <p:cViewPr>
        <p:scale>
          <a:sx n="75" d="100"/>
          <a:sy n="75" d="100"/>
        </p:scale>
        <p:origin x="-1452" y="-48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7"/>
  <c:chart>
    <c:view3D>
      <c:rAngAx val="1"/>
    </c:view3D>
    <c:plotArea>
      <c:layout>
        <c:manualLayout>
          <c:layoutTarget val="inner"/>
          <c:xMode val="edge"/>
          <c:yMode val="edge"/>
          <c:x val="0.14572282887027341"/>
          <c:y val="6.0383378986267194E-3"/>
          <c:w val="0.85413618367058819"/>
          <c:h val="0.74916464376183689"/>
        </c:manualLayout>
      </c:layout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0"/>
              <c:layout>
                <c:manualLayout>
                  <c:x val="4.3103448275860949E-3"/>
                  <c:y val="-4.7923316655767573E-3"/>
                </c:manualLayout>
              </c:layout>
              <c:showVal val="1"/>
            </c:dLbl>
            <c:dLbl>
              <c:idx val="1"/>
              <c:layout>
                <c:manualLayout>
                  <c:x val="4.3102316951761669E-3"/>
                  <c:y val="-2.3961658327883786E-3"/>
                </c:manualLayout>
              </c:layout>
              <c:showVal val="1"/>
            </c:dLbl>
            <c:dLbl>
              <c:idx val="2"/>
              <c:layout>
                <c:manualLayout>
                  <c:x val="-1.7463855047761001E-3"/>
                  <c:y val="-4.7922681073181593E-3"/>
                </c:manualLayout>
              </c:layout>
              <c:showVal val="1"/>
            </c:dLbl>
            <c:dLbl>
              <c:idx val="3"/>
              <c:layout>
                <c:manualLayout>
                  <c:x val="7.1839080459770331E-3"/>
                  <c:y val="-2.3961658327883786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                        (оценка)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807.9</c:v>
                </c:pt>
                <c:pt idx="1">
                  <c:v>1956.9</c:v>
                </c:pt>
                <c:pt idx="2">
                  <c:v>2067.6</c:v>
                </c:pt>
                <c:pt idx="3">
                  <c:v>1871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chemeClr val="accent6"/>
            </a:solidFill>
            <a:ln w="19050" cap="flat" cmpd="sng" algn="ctr">
              <a:solidFill>
                <a:schemeClr val="lt1"/>
              </a:solidFill>
              <a:prstDash val="solid"/>
              <a:miter lim="800000"/>
            </a:ln>
            <a:effectLst/>
          </c:spPr>
          <c:dLbls>
            <c:dLbl>
              <c:idx val="0"/>
              <c:layout>
                <c:manualLayout>
                  <c:x val="2.8735632183909316E-3"/>
                  <c:y val="-9.5846633311535145E-3"/>
                </c:manualLayout>
              </c:layout>
              <c:showVal val="1"/>
            </c:dLbl>
            <c:dLbl>
              <c:idx val="1"/>
              <c:layout>
                <c:manualLayout>
                  <c:x val="7.1839080459770331E-3"/>
                  <c:y val="-9.5846633311534746E-3"/>
                </c:manualLayout>
              </c:layout>
              <c:showVal val="1"/>
            </c:dLbl>
            <c:dLbl>
              <c:idx val="2"/>
              <c:layout>
                <c:manualLayout>
                  <c:x val="1.0057471264367929E-2"/>
                  <c:y val="-9.5846633311535145E-3"/>
                </c:manualLayout>
              </c:layout>
              <c:showVal val="1"/>
            </c:dLbl>
            <c:dLbl>
              <c:idx val="3"/>
              <c:layout>
                <c:manualLayout>
                  <c:x val="1.4367816091954021E-2"/>
                  <c:y val="-7.1884974983651689E-3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                        (оценка)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1331.2</c:v>
                </c:pt>
                <c:pt idx="1">
                  <c:v>1566.2</c:v>
                </c:pt>
                <c:pt idx="2">
                  <c:v>1677.2</c:v>
                </c:pt>
                <c:pt idx="3" formatCode="#,##0.0">
                  <c:v>147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dLbl>
              <c:idx val="0"/>
              <c:layout>
                <c:manualLayout>
                  <c:x val="2.873563218390818E-3"/>
                  <c:y val="-9.5846633311535145E-3"/>
                </c:manualLayout>
              </c:layout>
              <c:showVal val="1"/>
            </c:dLbl>
            <c:dLbl>
              <c:idx val="1"/>
              <c:layout>
                <c:manualLayout>
                  <c:x val="2.8734500859806393E-3"/>
                  <c:y val="-7.1886861728401932E-3"/>
                </c:manualLayout>
              </c:layout>
              <c:showVal val="1"/>
            </c:dLbl>
            <c:dLbl>
              <c:idx val="2"/>
              <c:layout>
                <c:manualLayout>
                  <c:x val="4.3103448275861956E-3"/>
                  <c:y val="-1.1980829163941975E-2"/>
                </c:manualLayout>
              </c:layout>
              <c:showVal val="1"/>
            </c:dLbl>
            <c:dLbl>
              <c:idx val="3"/>
              <c:layout>
                <c:manualLayout>
                  <c:x val="2.873563218390818E-3"/>
                  <c:y val="-1.1980829163941975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1 год                        (оценка)</c:v>
                </c:pt>
                <c:pt idx="1">
                  <c:v>2022 год</c:v>
                </c:pt>
                <c:pt idx="2">
                  <c:v>2023 год</c:v>
                </c:pt>
                <c:pt idx="3">
                  <c:v>2024 год</c:v>
                </c:pt>
              </c:strCache>
            </c:strRef>
          </c:cat>
          <c:val>
            <c:numRef>
              <c:f>Лист1!$D$2:$D$5</c:f>
              <c:numCache>
                <c:formatCode>General</c:formatCode>
                <c:ptCount val="4"/>
                <c:pt idx="0">
                  <c:v>476.7</c:v>
                </c:pt>
                <c:pt idx="1">
                  <c:v>390.7</c:v>
                </c:pt>
                <c:pt idx="2">
                  <c:v>390.4</c:v>
                </c:pt>
                <c:pt idx="3">
                  <c:v>400.3</c:v>
                </c:pt>
              </c:numCache>
            </c:numRef>
          </c:val>
        </c:ser>
        <c:dLbls>
          <c:showVal val="1"/>
        </c:dLbls>
        <c:shape val="box"/>
        <c:axId val="66231296"/>
        <c:axId val="66151168"/>
        <c:axId val="0"/>
      </c:bar3DChart>
      <c:catAx>
        <c:axId val="66231296"/>
        <c:scaling>
          <c:orientation val="minMax"/>
        </c:scaling>
        <c:axPos val="l"/>
        <c:tickLblPos val="nextTo"/>
        <c:crossAx val="66151168"/>
        <c:crosses val="autoZero"/>
        <c:auto val="1"/>
        <c:lblAlgn val="ctr"/>
        <c:lblOffset val="100"/>
      </c:catAx>
      <c:valAx>
        <c:axId val="66151168"/>
        <c:scaling>
          <c:orientation val="minMax"/>
        </c:scaling>
        <c:delete val="1"/>
        <c:axPos val="b"/>
        <c:numFmt formatCode="General" sourceLinked="1"/>
        <c:tickLblPos val="none"/>
        <c:crossAx val="6623129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5453536519142164"/>
          <c:y val="0.78726802001609753"/>
          <c:w val="0.51011975065616799"/>
          <c:h val="0.14741551817369206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5.4728674540682455E-2"/>
          <c:y val="2.5914268661589242E-2"/>
          <c:w val="0.94527132545931769"/>
          <c:h val="0.65884416240288601"/>
        </c:manualLayout>
      </c:layout>
      <c:bar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687.3</c:v>
                </c:pt>
                <c:pt idx="1">
                  <c:v>733.7</c:v>
                </c:pt>
                <c:pt idx="2">
                  <c:v>787</c:v>
                </c:pt>
                <c:pt idx="3">
                  <c:v>805.5</c:v>
                </c:pt>
                <c:pt idx="4">
                  <c:v>824.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409.6</c:v>
                </c:pt>
                <c:pt idx="1">
                  <c:v>327.5</c:v>
                </c:pt>
                <c:pt idx="2">
                  <c:v>307.2</c:v>
                </c:pt>
                <c:pt idx="3">
                  <c:v>248</c:v>
                </c:pt>
                <c:pt idx="4">
                  <c:v>224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иные межбюджетные транферты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60.6</c:v>
                </c:pt>
                <c:pt idx="1">
                  <c:v>62.8</c:v>
                </c:pt>
                <c:pt idx="2">
                  <c:v>47.3</c:v>
                </c:pt>
                <c:pt idx="3">
                  <c:v>1.2</c:v>
                </c:pt>
                <c:pt idx="4">
                  <c:v>1.2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убсидии</c:v>
                </c:pt>
              </c:strCache>
            </c:strRef>
          </c:tx>
          <c:spPr>
            <a:gradFill rotWithShape="1">
              <a:gsLst>
                <a:gs pos="0">
                  <a:schemeClr val="accent4">
                    <a:satMod val="103000"/>
                    <a:lumMod val="102000"/>
                    <a:tint val="94000"/>
                  </a:schemeClr>
                </a:gs>
                <a:gs pos="50000">
                  <a:schemeClr val="accent4">
                    <a:satMod val="110000"/>
                    <a:lumMod val="100000"/>
                    <a:shade val="100000"/>
                  </a:schemeClr>
                </a:gs>
                <a:gs pos="100000">
                  <a:schemeClr val="accent4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dLbls>
            <c:showVal val="1"/>
          </c:dLbls>
          <c:cat>
            <c:strRef>
              <c:f>Лист1!$A$2:$A$7</c:f>
              <c:strCache>
                <c:ptCount val="5"/>
                <c:pt idx="0">
                  <c:v>2020 год (отчет)</c:v>
                </c:pt>
                <c:pt idx="1">
                  <c:v>2021 год (оценка)</c:v>
                </c:pt>
                <c:pt idx="2">
                  <c:v>2022 год</c:v>
                </c:pt>
                <c:pt idx="3">
                  <c:v>2023 год</c:v>
                </c:pt>
                <c:pt idx="4">
                  <c:v>2024 год</c:v>
                </c:pt>
              </c:strCache>
            </c:str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366.8</c:v>
                </c:pt>
                <c:pt idx="1">
                  <c:v>210.6</c:v>
                </c:pt>
                <c:pt idx="2">
                  <c:v>424.7</c:v>
                </c:pt>
                <c:pt idx="3">
                  <c:v>622.5</c:v>
                </c:pt>
                <c:pt idx="4">
                  <c:v>421.4</c:v>
                </c:pt>
              </c:numCache>
            </c:numRef>
          </c:val>
        </c:ser>
        <c:dLbls>
          <c:showVal val="1"/>
        </c:dLbls>
        <c:axId val="81087488"/>
        <c:axId val="81109760"/>
      </c:barChart>
      <c:catAx>
        <c:axId val="81087488"/>
        <c:scaling>
          <c:orientation val="minMax"/>
        </c:scaling>
        <c:axPos val="b"/>
        <c:majorTickMark val="none"/>
        <c:tickLblPos val="nextTo"/>
        <c:crossAx val="81109760"/>
        <c:crosses val="autoZero"/>
        <c:auto val="1"/>
        <c:lblAlgn val="ctr"/>
        <c:lblOffset val="100"/>
      </c:catAx>
      <c:valAx>
        <c:axId val="81109760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810874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2628872631591817"/>
          <c:y val="0.81394755426589716"/>
          <c:w val="0.78306855244990103"/>
          <c:h val="0.18605244573410518"/>
        </c:manualLayout>
      </c:layout>
      <c:txPr>
        <a:bodyPr/>
        <a:lstStyle/>
        <a:p>
          <a:pPr>
            <a:defRPr sz="1100">
              <a:latin typeface="Arial Black" pitchFamily="34" charset="0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"/>
          <c:y val="2.8513471187823092E-2"/>
          <c:w val="0.98608903253085778"/>
          <c:h val="0.7536247238390732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circle"/>
            <c:size val="23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ru-RU" dirty="0" smtClean="0"/>
                      <a:t>1 793,7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ru-RU" dirty="0" smtClean="0"/>
                      <a:t>1 842,3</a:t>
                    </a:r>
                    <a:r>
                      <a:rPr lang="en-US" dirty="0" smtClean="0"/>
                      <a:t>   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dirty="0"/>
                      <a:t> 1 </a:t>
                    </a:r>
                    <a:r>
                      <a:rPr lang="ru-RU" dirty="0" smtClean="0"/>
                      <a:t>866,2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layout>
                <c:manualLayout>
                  <c:x val="2.2850768289611006E-2"/>
                  <c:y val="-4.0044648206188943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ru-RU" dirty="0" smtClean="0"/>
                      <a:t>1 95</a:t>
                    </a:r>
                    <a:r>
                      <a:rPr lang="en-US" dirty="0" smtClean="0"/>
                      <a:t>6</a:t>
                    </a:r>
                    <a:r>
                      <a:rPr lang="ru-RU" dirty="0" smtClean="0"/>
                      <a:t>,9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4"/>
              <c:layout>
                <c:manualLayout>
                  <c:x val="6.4267785814531173E-2"/>
                  <c:y val="2.40267889237133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ru-RU" dirty="0" smtClean="0"/>
                      <a:t>2 055,5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5"/>
              <c:layout>
                <c:manualLayout>
                  <c:x val="2.7135287343913177E-2"/>
                  <c:y val="-5.3392864274918826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r>
                      <a:rPr lang="ru-RU" dirty="0" smtClean="0"/>
                      <a:t>1 871,3</a:t>
                    </a:r>
                    <a:endParaRPr lang="en-US" dirty="0"/>
                  </a:p>
                </c:rich>
              </c:tx>
              <c:dLblPos val="t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9
(отчет)</c:v>
                </c:pt>
                <c:pt idx="1">
                  <c:v>2020 
(отчет)</c:v>
                </c:pt>
                <c:pt idx="2">
                  <c:v>2021 
(оценка)</c:v>
                </c:pt>
                <c:pt idx="3">
                  <c:v>2022 
(проект)</c:v>
                </c:pt>
                <c:pt idx="4">
                  <c:v>2023 
(проект)</c:v>
                </c:pt>
                <c:pt idx="5">
                  <c:v>2024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1793.7</c:v>
                </c:pt>
                <c:pt idx="1">
                  <c:v>1842.3</c:v>
                </c:pt>
                <c:pt idx="2">
                  <c:v>1866.2</c:v>
                </c:pt>
                <c:pt idx="3">
                  <c:v>1957</c:v>
                </c:pt>
                <c:pt idx="4">
                  <c:v>2055.5</c:v>
                </c:pt>
                <c:pt idx="5">
                  <c:v>1871.3</c:v>
                </c:pt>
              </c:numCache>
            </c:numRef>
          </c:val>
        </c:ser>
        <c:marker val="1"/>
        <c:axId val="81128064"/>
        <c:axId val="81195392"/>
      </c:lineChart>
      <c:catAx>
        <c:axId val="81128064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81195392"/>
        <c:crosses val="autoZero"/>
        <c:auto val="1"/>
        <c:lblAlgn val="ctr"/>
        <c:lblOffset val="100"/>
      </c:catAx>
      <c:valAx>
        <c:axId val="81195392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8112806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0.10883743601667886"/>
          <c:w val="0.46284043147458331"/>
          <c:h val="0.7911386438835246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Lbls>
            <c:dLbl>
              <c:idx val="0"/>
              <c:delete val="1"/>
            </c:dLbl>
            <c:dLbl>
              <c:idx val="1"/>
              <c:delete val="1"/>
            </c:dLbl>
            <c:dLbl>
              <c:idx val="2"/>
              <c:delete val="1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showVal val="1"/>
            <c:showLeaderLines val="1"/>
          </c:dLbls>
          <c:cat>
            <c:strRef>
              <c:f>Лист1!$A$2:$A$15</c:f>
              <c:strCache>
                <c:ptCount val="14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7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3,1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13,3 %</c:v>
                </c:pt>
                <c:pt idx="8">
                  <c:v>Культура 2,8 %</c:v>
                </c:pt>
                <c:pt idx="9">
                  <c:v>Управление финансами 2,4%</c:v>
                </c:pt>
                <c:pt idx="10">
                  <c:v>Формирование современной городской среды 9,4 %</c:v>
                </c:pt>
                <c:pt idx="11">
                  <c:v>Развитие жилищно-коммунального хозяйства 6,2 %</c:v>
                </c:pt>
                <c:pt idx="12">
                  <c:v>Социальная поддержка населения 25,7%</c:v>
                </c:pt>
                <c:pt idx="13">
                  <c:v>Развитие образования 33,6 ,%</c:v>
                </c:pt>
              </c:strCache>
            </c:strRef>
          </c:cat>
          <c:val>
            <c:numRef>
              <c:f>Лист1!$B$2:$B$15</c:f>
              <c:numCache>
                <c:formatCode>0.0%</c:formatCode>
                <c:ptCount val="14"/>
                <c:pt idx="0" formatCode="0.00%">
                  <c:v>1.0000000000000036E-4</c:v>
                </c:pt>
                <c:pt idx="1">
                  <c:v>1.0000000000000033E-3</c:v>
                </c:pt>
                <c:pt idx="2">
                  <c:v>7.0000000000000114E-3</c:v>
                </c:pt>
                <c:pt idx="3">
                  <c:v>7.0000000000000114E-3</c:v>
                </c:pt>
                <c:pt idx="4">
                  <c:v>3.1000000000000052E-2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0.13300000000000001</c:v>
                </c:pt>
                <c:pt idx="8">
                  <c:v>2.8000000000000001E-2</c:v>
                </c:pt>
                <c:pt idx="9">
                  <c:v>2.4E-2</c:v>
                </c:pt>
                <c:pt idx="10">
                  <c:v>9.4000000000000028E-2</c:v>
                </c:pt>
                <c:pt idx="11">
                  <c:v>6.2000000000000034E-2</c:v>
                </c:pt>
                <c:pt idx="12">
                  <c:v>0.25700000000000001</c:v>
                </c:pt>
                <c:pt idx="13">
                  <c:v>0.33600000000000102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300" b="1" baseline="0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1567740925906069"/>
          <c:y val="0"/>
          <c:w val="0.47578935661406935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300" b="1" baseline="0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280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727E-2"/>
          <c:w val="0.90537698500051733"/>
          <c:h val="0.90405710890605839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0.17508506896384438"/>
                  <c:y val="7.9422182938519048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5,9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588933540860137"/>
                  <c:y val="-2.744859900715328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4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3964366970820838"/>
                  <c:y val="-5.7302658271330534E-2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>
                        <a:solidFill>
                          <a:schemeClr val="tx1"/>
                        </a:solidFill>
                      </a:rPr>
                      <a:t>6,2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5.9</c:v>
                </c:pt>
                <c:pt idx="1">
                  <c:v>14.3</c:v>
                </c:pt>
                <c:pt idx="2">
                  <c:v>6.2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chemeClr val="accent6">
                  <a:lumMod val="75000"/>
                </a:schemeClr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dLbl>
              <c:idx val="0"/>
              <c:layout>
                <c:manualLayout>
                  <c:x val="-3.2905475782088051E-2"/>
                  <c:y val="0"/>
                </c:manualLayout>
              </c:layout>
              <c:dLblPos val="ctr"/>
              <c:showVal val="1"/>
            </c:dLbl>
            <c:dLbl>
              <c:idx val="1"/>
              <c:layout>
                <c:manualLayout>
                  <c:x val="-5.9229856407758366E-2"/>
                  <c:y val="8.8070343544796953E-7"/>
                </c:manualLayout>
              </c:layout>
              <c:dLblPos val="ctr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1</c:v>
                </c:pt>
                <c:pt idx="1">
                  <c:v>01.01.2022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792</c:v>
                </c:pt>
                <c:pt idx="1">
                  <c:v>13617</c:v>
                </c:pt>
              </c:numCache>
            </c:numRef>
          </c:val>
        </c:ser>
        <c:gapWidth val="10"/>
        <c:overlap val="18"/>
        <c:axId val="84201472"/>
        <c:axId val="84203008"/>
      </c:barChart>
      <c:catAx>
        <c:axId val="84201472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84203008"/>
        <c:crosses val="autoZero"/>
        <c:auto val="1"/>
        <c:lblAlgn val="ctr"/>
        <c:lblOffset val="100"/>
      </c:catAx>
      <c:valAx>
        <c:axId val="84203008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8420147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996"/>
          <c:y val="3.437500000000001E-2"/>
          <c:w val="0.64375000000002092"/>
          <c:h val="0.96562500000002294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1944058463280302E-2"/>
          <c:y val="7.3897400626126583E-2"/>
          <c:w val="0.9575256120640393"/>
          <c:h val="0.7162497188466299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, млн. рублей</c:v>
                </c:pt>
              </c:strCache>
            </c:strRef>
          </c:tx>
          <c:spPr>
            <a:ln w="76200">
              <a:solidFill>
                <a:schemeClr val="accent6">
                  <a:lumMod val="60000"/>
                  <a:lumOff val="40000"/>
                </a:schemeClr>
              </a:solidFill>
            </a:ln>
          </c:spPr>
          <c:marker>
            <c:symbol val="circle"/>
            <c:size val="23"/>
            <c:spPr>
              <a:solidFill>
                <a:schemeClr val="accent6">
                  <a:lumMod val="75000"/>
                </a:schemeClr>
              </a:solidFill>
              <a:ln>
                <a:noFill/>
              </a:ln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160,8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6,5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83,7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0,4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4"/>
              <c:layout>
                <c:manualLayout>
                  <c:x val="6.42677858145312E-2"/>
                  <c:y val="2.4026788923713391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dLbl>
              <c:idx val="5"/>
              <c:layout>
                <c:manualLayout>
                  <c:x val="2.7135287343913198E-2"/>
                  <c:y val="-5.339286427491886E-3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1,0</a:t>
                    </a:r>
                    <a:endParaRPr lang="en-US" dirty="0"/>
                  </a:p>
                </c:rich>
              </c:tx>
              <c:dLblPos val="t"/>
              <c:showVal val="1"/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>
                    <a:solidFill>
                      <a:schemeClr val="tx1">
                        <a:lumMod val="75000"/>
                        <a:lumOff val="25000"/>
                      </a:schemeClr>
                    </a:solidFill>
                  </a:defRPr>
                </a:pPr>
                <a:endParaRPr lang="ru-RU"/>
              </a:p>
            </c:txPr>
            <c:dLblPos val="t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7</c:f>
              <c:strCache>
                <c:ptCount val="6"/>
                <c:pt idx="0">
                  <c:v>2019
(отчет)</c:v>
                </c:pt>
                <c:pt idx="1">
                  <c:v>2020 
(отчет)</c:v>
                </c:pt>
                <c:pt idx="2">
                  <c:v>2021 
(оценка)</c:v>
                </c:pt>
                <c:pt idx="3">
                  <c:v>2022 
(проект)</c:v>
                </c:pt>
                <c:pt idx="4">
                  <c:v>2023 
(проект)</c:v>
                </c:pt>
                <c:pt idx="5">
                  <c:v>2024 
(проект)</c:v>
                </c:pt>
              </c:strCache>
            </c:strRef>
          </c:cat>
          <c:val>
            <c:numRef>
              <c:f>Лист1!$B$2:$B$7</c:f>
              <c:numCache>
                <c:formatCode>_-* #,##0.0_р_._-;\-* #,##0.0_р_._-;_-* "-"?_р_._-;_-@_-</c:formatCode>
                <c:ptCount val="6"/>
                <c:pt idx="0">
                  <c:v>160.80000000000001</c:v>
                </c:pt>
                <c:pt idx="1">
                  <c:v>76.5</c:v>
                </c:pt>
                <c:pt idx="2">
                  <c:v>83.7</c:v>
                </c:pt>
                <c:pt idx="3">
                  <c:v>20.399999999999999</c:v>
                </c:pt>
                <c:pt idx="4">
                  <c:v>21</c:v>
                </c:pt>
                <c:pt idx="5">
                  <c:v>21</c:v>
                </c:pt>
              </c:numCache>
            </c:numRef>
          </c:val>
        </c:ser>
        <c:marker val="1"/>
        <c:axId val="87826432"/>
        <c:axId val="87827968"/>
      </c:lineChart>
      <c:catAx>
        <c:axId val="8782643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lnSpc>
                <a:spcPts val="1600"/>
              </a:lnSpc>
              <a:defRPr sz="1800" b="1">
                <a:solidFill>
                  <a:srgbClr val="5C5C5C"/>
                </a:solidFill>
                <a:latin typeface="Calibri" pitchFamily="34" charset="0"/>
                <a:cs typeface="Times New Roman" pitchFamily="18" charset="0"/>
              </a:defRPr>
            </a:pPr>
            <a:endParaRPr lang="ru-RU"/>
          </a:p>
        </c:txPr>
        <c:crossAx val="87827968"/>
        <c:crosses val="autoZero"/>
        <c:auto val="1"/>
        <c:lblAlgn val="ctr"/>
        <c:lblOffset val="100"/>
      </c:catAx>
      <c:valAx>
        <c:axId val="87827968"/>
        <c:scaling>
          <c:orientation val="minMax"/>
        </c:scaling>
        <c:delete val="1"/>
        <c:axPos val="l"/>
        <c:numFmt formatCode="_-* #,##0.0_р_._-;\-* #,##0.0_р_._-;_-* &quot;-&quot;?_р_._-;_-@_-" sourceLinked="1"/>
        <c:tickLblPos val="none"/>
        <c:crossAx val="8782643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4.7041504210837304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accent6"/>
            </a:solidFill>
            <a:ln w="19050" cap="flat" cmpd="sng" algn="ctr">
              <a:solidFill>
                <a:schemeClr val="lt1"/>
              </a:solidFill>
              <a:prstDash val="solid"/>
              <a:miter lim="800000"/>
            </a:ln>
            <a:effectLst/>
          </c:spPr>
          <c:dLbls>
            <c:dLbl>
              <c:idx val="0"/>
              <c:layout>
                <c:manualLayout>
                  <c:x val="5.5555555555555558E-3"/>
                  <c:y val="-0.16120484638934093"/>
                </c:manualLayout>
              </c:layout>
              <c:showVal val="1"/>
            </c:dLbl>
            <c:dLbl>
              <c:idx val="1"/>
              <c:layout>
                <c:manualLayout>
                  <c:x val="5.5555555555555558E-3"/>
                  <c:y val="-0.1214010626001359"/>
                </c:manualLayout>
              </c:layout>
              <c:showVal val="1"/>
            </c:dLbl>
            <c:dLbl>
              <c:idx val="2"/>
              <c:layout>
                <c:manualLayout>
                  <c:x val="9.7222222222222224E-3"/>
                  <c:y val="-4.7764352498414125E-2"/>
                </c:manualLayout>
              </c:layout>
              <c:showVal val="1"/>
            </c:dLbl>
            <c:dLbl>
              <c:idx val="3"/>
              <c:layout>
                <c:manualLayout>
                  <c:x val="1.1111111111111125E-2"/>
                  <c:y val="-4.3783989790212953E-2"/>
                </c:manualLayout>
              </c:layout>
              <c:showVal val="1"/>
            </c:dLbl>
            <c:dLbl>
              <c:idx val="4"/>
              <c:layout>
                <c:manualLayout>
                  <c:x val="9.7222222222222224E-3"/>
                  <c:y val="-4.179380843611236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20 г.</c:v>
                </c:pt>
                <c:pt idx="1">
                  <c:v>на 01.01.2021 г.</c:v>
                </c:pt>
                <c:pt idx="2">
                  <c:v>на 01.01.2022 г. (оценка)</c:v>
                </c:pt>
                <c:pt idx="3">
                  <c:v>на 01.01.2023 г.</c:v>
                </c:pt>
                <c:pt idx="4">
                  <c:v>на 01.01.2024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8.3000000000000007</c:v>
                </c:pt>
                <c:pt idx="1">
                  <c:v>0</c:v>
                </c:pt>
                <c:pt idx="2">
                  <c:v>12.1</c:v>
                </c:pt>
                <c:pt idx="3">
                  <c:v>12.1</c:v>
                </c:pt>
                <c:pt idx="4">
                  <c:v>0</c:v>
                </c:pt>
              </c:numCache>
            </c:numRef>
          </c:val>
        </c:ser>
        <c:axId val="87581824"/>
        <c:axId val="87583360"/>
        <c:axId val="87906496"/>
      </c:area3DChart>
      <c:catAx>
        <c:axId val="87581824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87583360"/>
        <c:crosses val="autoZero"/>
        <c:auto val="1"/>
        <c:lblAlgn val="ctr"/>
        <c:lblOffset val="100"/>
      </c:catAx>
      <c:valAx>
        <c:axId val="87583360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87581824"/>
        <c:crosses val="autoZero"/>
        <c:crossBetween val="midCat"/>
      </c:valAx>
      <c:serAx>
        <c:axId val="87906496"/>
        <c:scaling>
          <c:orientation val="minMax"/>
        </c:scaling>
        <c:delete val="1"/>
        <c:axPos val="b"/>
        <c:tickLblPos val="none"/>
        <c:crossAx val="87583360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Picture 2" descr="B:\!!!сканы\new\кружка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5372100"/>
            <a:ext cx="1265464" cy="116295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3610845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817424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26" name="Picture 2" descr="B:\!!!сканы\new\кружка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5372100"/>
            <a:ext cx="1265464" cy="1162956"/>
          </a:xfrm>
          <a:prstGeom prst="rect">
            <a:avLst/>
          </a:prstGeom>
          <a:noFill/>
        </p:spPr>
      </p:pic>
      <p:sp>
        <p:nvSpPr>
          <p:cNvPr id="10" name="Блок-схема: процесс 9"/>
          <p:cNvSpPr/>
          <p:nvPr/>
        </p:nvSpPr>
        <p:spPr>
          <a:xfrm>
            <a:off x="2212520" y="391885"/>
            <a:ext cx="6809016" cy="685800"/>
          </a:xfrm>
          <a:prstGeom prst="flowChartProcess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2493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3" Type="http://schemas.openxmlformats.org/officeDocument/2006/relationships/tags" Target="../tags/tag4.xml"/><Relationship Id="rId7" Type="http://schemas.openxmlformats.org/officeDocument/2006/relationships/chart" Target="../charts/chart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10" Type="http://schemas.openxmlformats.org/officeDocument/2006/relationships/image" Target="../media/image27.png"/><Relationship Id="rId4" Type="http://schemas.openxmlformats.org/officeDocument/2006/relationships/tags" Target="../tags/tag5.xml"/><Relationship Id="rId9" Type="http://schemas.openxmlformats.org/officeDocument/2006/relationships/image" Target="../media/image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28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10" Type="http://schemas.openxmlformats.org/officeDocument/2006/relationships/tags" Target="../tags/tag16.xml"/><Relationship Id="rId19" Type="http://schemas.openxmlformats.org/officeDocument/2006/relationships/image" Target="../media/image7.png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63" Type="http://schemas.openxmlformats.org/officeDocument/2006/relationships/image" Target="../media/image30.png"/><Relationship Id="rId7" Type="http://schemas.openxmlformats.org/officeDocument/2006/relationships/tags" Target="../tags/tag29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image" Target="../media/image29.png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Relationship Id="rId61" Type="http://schemas.openxmlformats.org/officeDocument/2006/relationships/slideLayout" Target="../slideLayouts/slideLayout2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image" Target="../media/image7.png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image" Target="../media/image31.png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tags" Target="../tags/tag85.xml"/><Relationship Id="rId7" Type="http://schemas.openxmlformats.org/officeDocument/2006/relationships/image" Target="../media/image35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9" Type="http://schemas.openxmlformats.org/officeDocument/2006/relationships/image" Target="../media/image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7" Type="http://schemas.openxmlformats.org/officeDocument/2006/relationships/image" Target="../media/image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8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91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image" Target="../media/image7.png"/><Relationship Id="rId1" Type="http://schemas.openxmlformats.org/officeDocument/2006/relationships/tags" Target="../tags/tag89.x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10" Type="http://schemas.openxmlformats.org/officeDocument/2006/relationships/tags" Target="../tags/tag98.xml"/><Relationship Id="rId19" Type="http://schemas.openxmlformats.org/officeDocument/2006/relationships/image" Target="../media/image40.jpeg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6.xml"/><Relationship Id="rId5" Type="http://schemas.openxmlformats.org/officeDocument/2006/relationships/image" Target="../media/image41.png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7.png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5" Type="http://schemas.openxmlformats.org/officeDocument/2006/relationships/image" Target="../media/image7.png"/><Relationship Id="rId10" Type="http://schemas.openxmlformats.org/officeDocument/2006/relationships/image" Target="../media/image22.png"/><Relationship Id="rId4" Type="http://schemas.openxmlformats.org/officeDocument/2006/relationships/image" Target="../media/image16.png"/><Relationship Id="rId9" Type="http://schemas.openxmlformats.org/officeDocument/2006/relationships/image" Target="../media/image21.png"/><Relationship Id="rId14" Type="http://schemas.openxmlformats.org/officeDocument/2006/relationships/image" Target="../media/image2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766582" y="1868397"/>
            <a:ext cx="7405816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ФИНАНСОВОЕ УПРАВЛЕНИЕ АДМИНИСТРАЦИИ ГОРОДА-КУРОРТА ЖЕЛЕЗНОВОДСКА СТАВРОПОЛЬСКОГО КРАЯ</a:t>
            </a:r>
            <a:endParaRPr lang="ru-RU" sz="2400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</p:txBody>
      </p:sp>
      <p:pic>
        <p:nvPicPr>
          <p:cNvPr id="5" name="Picture 2" descr="C:\Users\ZhSuNA\Pictures\aboutBud_new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911047" y="2895600"/>
            <a:ext cx="4232953" cy="4000500"/>
          </a:xfrm>
          <a:prstGeom prst="rect">
            <a:avLst/>
          </a:prstGeom>
          <a:noFill/>
        </p:spPr>
      </p:pic>
      <p:sp>
        <p:nvSpPr>
          <p:cNvPr id="3" name="TextBox 2"/>
          <p:cNvSpPr txBox="1"/>
          <p:nvPr/>
        </p:nvSpPr>
        <p:spPr>
          <a:xfrm>
            <a:off x="269071" y="3775802"/>
            <a:ext cx="5618205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Проект бюджета города - курорта Железноводска</a:t>
            </a:r>
          </a:p>
          <a:p>
            <a:pPr algn="ctr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Ставропольского края </a:t>
            </a:r>
          </a:p>
          <a:p>
            <a:pPr algn="ctr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на 202</a:t>
            </a: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2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 год и на плановый период </a:t>
            </a:r>
          </a:p>
          <a:p>
            <a:pPr algn="ctr"/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202</a:t>
            </a: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3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 и 202</a:t>
            </a:r>
            <a:r>
              <a:rPr lang="en-US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4</a:t>
            </a:r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  <a:latin typeface="Arial Black" pitchFamily="34" charset="0"/>
              </a:rPr>
              <a:t> годов</a:t>
            </a:r>
            <a:endParaRPr lang="ru-RU" sz="2000" b="1" dirty="0">
              <a:solidFill>
                <a:schemeClr val="tx2">
                  <a:lumMod val="75000"/>
                </a:schemeClr>
              </a:solidFill>
              <a:latin typeface="Arial Black" pitchFamily="34" charset="0"/>
            </a:endParaRPr>
          </a:p>
        </p:txBody>
      </p:sp>
      <p:pic>
        <p:nvPicPr>
          <p:cNvPr id="3075" name="Picture 3" descr="C:\Users\ZhSuNA\Pictures\photo_2020-09-09_15-59-56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43838" y="236307"/>
            <a:ext cx="4941869" cy="135258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 extrusionH="76200" contourW="101600" prstMaterial="metal">
            <a:bevelT w="177800"/>
            <a:extrusionClr>
              <a:schemeClr val="accent1">
                <a:lumMod val="75000"/>
              </a:schemeClr>
            </a:extrusionClr>
            <a:contourClr>
              <a:srgbClr val="4F9B43"/>
            </a:contourClr>
          </a:sp3d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01334" y="536568"/>
            <a:ext cx="6815666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Повышение оплаты труда работников  муниципальных учреждений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9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xmlns="" val="3383263371"/>
              </p:ext>
            </p:extLst>
          </p:nvPr>
        </p:nvGraphicFramePr>
        <p:xfrm>
          <a:off x="-213787" y="1982310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pSp>
        <p:nvGrpSpPr>
          <p:cNvPr id="5" name="Группа 19"/>
          <p:cNvGrpSpPr/>
          <p:nvPr/>
        </p:nvGrpSpPr>
        <p:grpSpPr>
          <a:xfrm>
            <a:off x="3478306" y="3559835"/>
            <a:ext cx="5522259" cy="1476000"/>
            <a:chOff x="3665534" y="2961112"/>
            <a:chExt cx="5370960" cy="1476000"/>
          </a:xfrm>
        </p:grpSpPr>
        <p:grpSp>
          <p:nvGrpSpPr>
            <p:cNvPr id="6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10" name="Прямоугольник 9"/>
              <p:cNvSpPr/>
              <p:nvPr>
                <p:custDataLst>
                  <p:tags r:id="rId4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11" name="Скругленный прямоугольник 10"/>
              <p:cNvSpPr/>
              <p:nvPr>
                <p:custDataLst>
                  <p:tags r:id="rId5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12" name="Диаграмма 11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8"/>
              </a:graphicData>
            </a:graphic>
          </p:graphicFrame>
        </p:grpSp>
        <p:cxnSp>
          <p:nvCxnSpPr>
            <p:cNvPr id="9" name="Прямая соединительная линия 8"/>
            <p:cNvCxnSpPr/>
            <p:nvPr/>
          </p:nvCxnSpPr>
          <p:spPr>
            <a:xfrm rot="10800000">
              <a:off x="3665534" y="3569866"/>
              <a:ext cx="641587" cy="210055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23"/>
          <p:cNvGrpSpPr/>
          <p:nvPr/>
        </p:nvGrpSpPr>
        <p:grpSpPr>
          <a:xfrm>
            <a:off x="1461248" y="1500174"/>
            <a:ext cx="7003711" cy="1857388"/>
            <a:chOff x="2032785" y="1245520"/>
            <a:chExt cx="7003711" cy="1607415"/>
          </a:xfrm>
        </p:grpSpPr>
        <p:sp>
          <p:nvSpPr>
            <p:cNvPr id="14" name="Скругленный прямоугольник 13"/>
            <p:cNvSpPr/>
            <p:nvPr>
              <p:custDataLst>
                <p:tags r:id="rId3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5791700" y="1245520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16" name="Прямая соединительная линия 15"/>
            <p:cNvCxnSpPr/>
            <p:nvPr/>
          </p:nvCxnSpPr>
          <p:spPr>
            <a:xfrm rot="10800000" flipV="1">
              <a:off x="2032785" y="1678285"/>
              <a:ext cx="1967745" cy="937782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3485611" y="1808686"/>
          <a:ext cx="4944688" cy="1500198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643074"/>
                <a:gridCol w="857499"/>
                <a:gridCol w="816837"/>
                <a:gridCol w="838855"/>
                <a:gridCol w="788423"/>
              </a:tblGrid>
              <a:tr h="572234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3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4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927964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1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1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8 758,02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8" name="Группа 19"/>
          <p:cNvGrpSpPr/>
          <p:nvPr/>
        </p:nvGrpSpPr>
        <p:grpSpPr>
          <a:xfrm>
            <a:off x="636494" y="4527175"/>
            <a:ext cx="5880847" cy="1882589"/>
            <a:chOff x="2800477" y="2069295"/>
            <a:chExt cx="6236017" cy="2367817"/>
          </a:xfrm>
        </p:grpSpPr>
        <p:grpSp>
          <p:nvGrpSpPr>
            <p:cNvPr id="13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30" name="Прямоугольник 29"/>
              <p:cNvSpPr/>
              <p:nvPr>
                <p:custDataLst>
                  <p:tags r:id="rId1"/>
                </p:custDataLst>
              </p:nvPr>
            </p:nvSpPr>
            <p:spPr>
              <a:xfrm>
                <a:off x="5910417" y="3364525"/>
                <a:ext cx="5556969" cy="73425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 smtClean="0">
                    <a:solidFill>
                      <a:schemeClr val="tx1"/>
                    </a:solidFill>
                  </a:rPr>
                  <a:t>Индексация оплаты труда работников бюджетной сферы  размере 3,6%</a:t>
                </a:r>
                <a:endParaRPr lang="ru-RU" sz="1600" b="1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Скругленный прямоугольник 30"/>
              <p:cNvSpPr/>
              <p:nvPr>
                <p:custDataLst>
                  <p:tags r:id="rId2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29" name="Прямая соединительная линия 28"/>
            <p:cNvCxnSpPr/>
            <p:nvPr/>
          </p:nvCxnSpPr>
          <p:spPr>
            <a:xfrm rot="10800000">
              <a:off x="2800477" y="2069295"/>
              <a:ext cx="1506644" cy="1710626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2" name="object 33"/>
          <p:cNvSpPr/>
          <p:nvPr/>
        </p:nvSpPr>
        <p:spPr>
          <a:xfrm>
            <a:off x="403553" y="1342704"/>
            <a:ext cx="1707472" cy="1214848"/>
          </a:xfrm>
          <a:custGeom>
            <a:avLst/>
            <a:gdLst/>
            <a:ahLst/>
            <a:cxnLst/>
            <a:rect l="l" t="t" r="r" b="b"/>
            <a:pathLst>
              <a:path w="2089784" h="1892300">
                <a:moveTo>
                  <a:pt x="519474" y="1054099"/>
                </a:moveTo>
                <a:lnTo>
                  <a:pt x="122888" y="1054099"/>
                </a:lnTo>
                <a:lnTo>
                  <a:pt x="73051" y="1066799"/>
                </a:lnTo>
                <a:lnTo>
                  <a:pt x="34212" y="1092199"/>
                </a:lnTo>
                <a:lnTo>
                  <a:pt x="8989" y="1130299"/>
                </a:lnTo>
                <a:lnTo>
                  <a:pt x="0" y="1168399"/>
                </a:lnTo>
                <a:lnTo>
                  <a:pt x="0" y="1777999"/>
                </a:lnTo>
                <a:lnTo>
                  <a:pt x="8989" y="1828799"/>
                </a:lnTo>
                <a:lnTo>
                  <a:pt x="34212" y="1866899"/>
                </a:lnTo>
                <a:lnTo>
                  <a:pt x="73051" y="1892299"/>
                </a:lnTo>
                <a:lnTo>
                  <a:pt x="559795" y="1892299"/>
                </a:lnTo>
                <a:lnTo>
                  <a:pt x="594879" y="1866899"/>
                </a:lnTo>
                <a:lnTo>
                  <a:pt x="621584" y="1841499"/>
                </a:lnTo>
                <a:lnTo>
                  <a:pt x="629176" y="1828799"/>
                </a:lnTo>
                <a:lnTo>
                  <a:pt x="122888" y="1828799"/>
                </a:lnTo>
                <a:lnTo>
                  <a:pt x="106477" y="1816099"/>
                </a:lnTo>
                <a:lnTo>
                  <a:pt x="92162" y="1816099"/>
                </a:lnTo>
                <a:lnTo>
                  <a:pt x="82038" y="1803399"/>
                </a:lnTo>
                <a:lnTo>
                  <a:pt x="78198" y="1777999"/>
                </a:lnTo>
                <a:lnTo>
                  <a:pt x="78198" y="1168399"/>
                </a:lnTo>
                <a:lnTo>
                  <a:pt x="82038" y="1155699"/>
                </a:lnTo>
                <a:lnTo>
                  <a:pt x="92162" y="1142999"/>
                </a:lnTo>
                <a:lnTo>
                  <a:pt x="106477" y="1142999"/>
                </a:lnTo>
                <a:lnTo>
                  <a:pt x="122888" y="1130299"/>
                </a:lnTo>
                <a:lnTo>
                  <a:pt x="711108" y="1130299"/>
                </a:lnTo>
                <a:lnTo>
                  <a:pt x="738610" y="1104899"/>
                </a:lnTo>
                <a:lnTo>
                  <a:pt x="620013" y="1104899"/>
                </a:lnTo>
                <a:lnTo>
                  <a:pt x="600376" y="1092199"/>
                </a:lnTo>
                <a:lnTo>
                  <a:pt x="576026" y="1066799"/>
                </a:lnTo>
                <a:lnTo>
                  <a:pt x="548535" y="1066799"/>
                </a:lnTo>
                <a:lnTo>
                  <a:pt x="519474" y="1054099"/>
                </a:lnTo>
                <a:close/>
              </a:path>
              <a:path w="2089784" h="1892300">
                <a:moveTo>
                  <a:pt x="800147" y="1816099"/>
                </a:moveTo>
                <a:lnTo>
                  <a:pt x="636767" y="1816099"/>
                </a:lnTo>
                <a:lnTo>
                  <a:pt x="687045" y="1854199"/>
                </a:lnTo>
                <a:lnTo>
                  <a:pt x="717414" y="1866899"/>
                </a:lnTo>
                <a:lnTo>
                  <a:pt x="749881" y="1879599"/>
                </a:lnTo>
                <a:lnTo>
                  <a:pt x="784447" y="1892299"/>
                </a:lnTo>
                <a:lnTo>
                  <a:pt x="2089204" y="1892299"/>
                </a:lnTo>
                <a:lnTo>
                  <a:pt x="2089204" y="1828799"/>
                </a:lnTo>
                <a:lnTo>
                  <a:pt x="821115" y="1828799"/>
                </a:lnTo>
                <a:lnTo>
                  <a:pt x="800147" y="1816099"/>
                </a:lnTo>
                <a:close/>
              </a:path>
              <a:path w="2089784" h="1892300">
                <a:moveTo>
                  <a:pt x="636767" y="1816099"/>
                </a:moveTo>
                <a:lnTo>
                  <a:pt x="535008" y="1816099"/>
                </a:lnTo>
                <a:lnTo>
                  <a:pt x="519474" y="1828799"/>
                </a:lnTo>
                <a:lnTo>
                  <a:pt x="629176" y="1828799"/>
                </a:lnTo>
                <a:lnTo>
                  <a:pt x="636767" y="1816099"/>
                </a:lnTo>
                <a:close/>
              </a:path>
              <a:path w="2089784" h="1892300">
                <a:moveTo>
                  <a:pt x="1731580" y="1714499"/>
                </a:moveTo>
                <a:lnTo>
                  <a:pt x="1625951" y="1714499"/>
                </a:lnTo>
                <a:lnTo>
                  <a:pt x="1643588" y="1727199"/>
                </a:lnTo>
                <a:lnTo>
                  <a:pt x="1654947" y="1752599"/>
                </a:lnTo>
                <a:lnTo>
                  <a:pt x="1658969" y="1765299"/>
                </a:lnTo>
                <a:lnTo>
                  <a:pt x="1654947" y="1790699"/>
                </a:lnTo>
                <a:lnTo>
                  <a:pt x="1643588" y="1803399"/>
                </a:lnTo>
                <a:lnTo>
                  <a:pt x="1625951" y="1816099"/>
                </a:lnTo>
                <a:lnTo>
                  <a:pt x="1603097" y="1828799"/>
                </a:lnTo>
                <a:lnTo>
                  <a:pt x="1731580" y="1828799"/>
                </a:lnTo>
                <a:lnTo>
                  <a:pt x="1735678" y="1816099"/>
                </a:lnTo>
                <a:lnTo>
                  <a:pt x="1739252" y="1790699"/>
                </a:lnTo>
                <a:lnTo>
                  <a:pt x="1741781" y="1777999"/>
                </a:lnTo>
                <a:lnTo>
                  <a:pt x="1742740" y="1765299"/>
                </a:lnTo>
                <a:lnTo>
                  <a:pt x="1741781" y="1752599"/>
                </a:lnTo>
                <a:lnTo>
                  <a:pt x="1739252" y="1739899"/>
                </a:lnTo>
                <a:lnTo>
                  <a:pt x="1735678" y="1727199"/>
                </a:lnTo>
                <a:lnTo>
                  <a:pt x="1731580" y="1714499"/>
                </a:lnTo>
                <a:close/>
              </a:path>
              <a:path w="2089784" h="1892300">
                <a:moveTo>
                  <a:pt x="2089204" y="50799"/>
                </a:moveTo>
                <a:lnTo>
                  <a:pt x="2027604" y="50799"/>
                </a:lnTo>
                <a:lnTo>
                  <a:pt x="2027604" y="1828799"/>
                </a:lnTo>
                <a:lnTo>
                  <a:pt x="2089204" y="1828799"/>
                </a:lnTo>
                <a:lnTo>
                  <a:pt x="2089204" y="50799"/>
                </a:lnTo>
                <a:close/>
              </a:path>
              <a:path w="2089784" h="1892300">
                <a:moveTo>
                  <a:pt x="711108" y="1130299"/>
                </a:moveTo>
                <a:lnTo>
                  <a:pt x="519474" y="1130299"/>
                </a:lnTo>
                <a:lnTo>
                  <a:pt x="535008" y="1142999"/>
                </a:lnTo>
                <a:lnTo>
                  <a:pt x="547399" y="1142999"/>
                </a:lnTo>
                <a:lnTo>
                  <a:pt x="555602" y="1155699"/>
                </a:lnTo>
                <a:lnTo>
                  <a:pt x="558569" y="1168399"/>
                </a:lnTo>
                <a:lnTo>
                  <a:pt x="558569" y="1777999"/>
                </a:lnTo>
                <a:lnTo>
                  <a:pt x="555602" y="1803399"/>
                </a:lnTo>
                <a:lnTo>
                  <a:pt x="547399" y="1816099"/>
                </a:lnTo>
                <a:lnTo>
                  <a:pt x="779198" y="1816099"/>
                </a:lnTo>
                <a:lnTo>
                  <a:pt x="737314" y="1790699"/>
                </a:lnTo>
                <a:lnTo>
                  <a:pt x="642355" y="1714499"/>
                </a:lnTo>
                <a:lnTo>
                  <a:pt x="642355" y="1193799"/>
                </a:lnTo>
                <a:lnTo>
                  <a:pt x="711108" y="1130299"/>
                </a:lnTo>
                <a:close/>
              </a:path>
              <a:path w="2089784" h="1892300">
                <a:moveTo>
                  <a:pt x="1932665" y="825499"/>
                </a:moveTo>
                <a:lnTo>
                  <a:pt x="1874012" y="825499"/>
                </a:lnTo>
                <a:lnTo>
                  <a:pt x="1863899" y="838199"/>
                </a:lnTo>
                <a:lnTo>
                  <a:pt x="1860063" y="850899"/>
                </a:lnTo>
                <a:lnTo>
                  <a:pt x="1860063" y="1282699"/>
                </a:lnTo>
                <a:lnTo>
                  <a:pt x="1273900" y="1282699"/>
                </a:lnTo>
                <a:lnTo>
                  <a:pt x="1259580" y="1295399"/>
                </a:lnTo>
                <a:lnTo>
                  <a:pt x="1249459" y="1308099"/>
                </a:lnTo>
                <a:lnTo>
                  <a:pt x="1245622" y="1320799"/>
                </a:lnTo>
                <a:lnTo>
                  <a:pt x="1249459" y="1333499"/>
                </a:lnTo>
                <a:lnTo>
                  <a:pt x="1259580" y="1346199"/>
                </a:lnTo>
                <a:lnTo>
                  <a:pt x="1273900" y="1346199"/>
                </a:lnTo>
                <a:lnTo>
                  <a:pt x="1290334" y="1358899"/>
                </a:lnTo>
                <a:lnTo>
                  <a:pt x="1854975" y="1358899"/>
                </a:lnTo>
                <a:lnTo>
                  <a:pt x="1872608" y="1371599"/>
                </a:lnTo>
                <a:lnTo>
                  <a:pt x="1883950" y="1384299"/>
                </a:lnTo>
                <a:lnTo>
                  <a:pt x="1887962" y="1409699"/>
                </a:lnTo>
                <a:lnTo>
                  <a:pt x="1883950" y="1435099"/>
                </a:lnTo>
                <a:lnTo>
                  <a:pt x="1872608" y="1447799"/>
                </a:lnTo>
                <a:lnTo>
                  <a:pt x="1854975" y="1460499"/>
                </a:lnTo>
                <a:lnTo>
                  <a:pt x="1273900" y="1460499"/>
                </a:lnTo>
                <a:lnTo>
                  <a:pt x="1259580" y="1473199"/>
                </a:lnTo>
                <a:lnTo>
                  <a:pt x="1249459" y="1485899"/>
                </a:lnTo>
                <a:lnTo>
                  <a:pt x="1245622" y="1498599"/>
                </a:lnTo>
                <a:lnTo>
                  <a:pt x="1249459" y="1511299"/>
                </a:lnTo>
                <a:lnTo>
                  <a:pt x="1259580" y="1523999"/>
                </a:lnTo>
                <a:lnTo>
                  <a:pt x="1273900" y="1536699"/>
                </a:lnTo>
                <a:lnTo>
                  <a:pt x="1766496" y="1536699"/>
                </a:lnTo>
                <a:lnTo>
                  <a:pt x="1786048" y="1549399"/>
                </a:lnTo>
                <a:lnTo>
                  <a:pt x="1799308" y="1562099"/>
                </a:lnTo>
                <a:lnTo>
                  <a:pt x="1804191" y="1587499"/>
                </a:lnTo>
                <a:lnTo>
                  <a:pt x="1799308" y="1612899"/>
                </a:lnTo>
                <a:lnTo>
                  <a:pt x="1786048" y="1625599"/>
                </a:lnTo>
                <a:lnTo>
                  <a:pt x="1766496" y="1638299"/>
                </a:lnTo>
                <a:lnTo>
                  <a:pt x="1273900" y="1638299"/>
                </a:lnTo>
                <a:lnTo>
                  <a:pt x="1259580" y="1650999"/>
                </a:lnTo>
                <a:lnTo>
                  <a:pt x="1249459" y="1663699"/>
                </a:lnTo>
                <a:lnTo>
                  <a:pt x="1245622" y="1676399"/>
                </a:lnTo>
                <a:lnTo>
                  <a:pt x="1249459" y="1689099"/>
                </a:lnTo>
                <a:lnTo>
                  <a:pt x="1259580" y="1701799"/>
                </a:lnTo>
                <a:lnTo>
                  <a:pt x="1273900" y="1714499"/>
                </a:lnTo>
                <a:lnTo>
                  <a:pt x="1787288" y="1714499"/>
                </a:lnTo>
                <a:lnTo>
                  <a:pt x="1825672" y="1689099"/>
                </a:lnTo>
                <a:lnTo>
                  <a:pt x="1855747" y="1663699"/>
                </a:lnTo>
                <a:lnTo>
                  <a:pt x="1875365" y="1625599"/>
                </a:lnTo>
                <a:lnTo>
                  <a:pt x="1882382" y="1587499"/>
                </a:lnTo>
                <a:lnTo>
                  <a:pt x="1881423" y="1574799"/>
                </a:lnTo>
                <a:lnTo>
                  <a:pt x="1878895" y="1562099"/>
                </a:lnTo>
                <a:lnTo>
                  <a:pt x="1875320" y="1549399"/>
                </a:lnTo>
                <a:lnTo>
                  <a:pt x="1871222" y="1536699"/>
                </a:lnTo>
                <a:lnTo>
                  <a:pt x="1910498" y="1511299"/>
                </a:lnTo>
                <a:lnTo>
                  <a:pt x="1942429" y="1485899"/>
                </a:lnTo>
                <a:lnTo>
                  <a:pt x="1963885" y="1447799"/>
                </a:lnTo>
                <a:lnTo>
                  <a:pt x="1971732" y="1409699"/>
                </a:lnTo>
                <a:lnTo>
                  <a:pt x="1969727" y="1384299"/>
                </a:lnTo>
                <a:lnTo>
                  <a:pt x="1964060" y="1371599"/>
                </a:lnTo>
                <a:lnTo>
                  <a:pt x="1955255" y="1346199"/>
                </a:lnTo>
                <a:lnTo>
                  <a:pt x="1943834" y="1333499"/>
                </a:lnTo>
                <a:lnTo>
                  <a:pt x="1943834" y="850899"/>
                </a:lnTo>
                <a:lnTo>
                  <a:pt x="1940868" y="838199"/>
                </a:lnTo>
                <a:lnTo>
                  <a:pt x="1932665" y="825499"/>
                </a:lnTo>
                <a:close/>
              </a:path>
              <a:path w="2089784" h="1892300">
                <a:moveTo>
                  <a:pt x="357483" y="1130299"/>
                </a:moveTo>
                <a:lnTo>
                  <a:pt x="279284" y="1130299"/>
                </a:lnTo>
                <a:lnTo>
                  <a:pt x="279284" y="1562099"/>
                </a:lnTo>
                <a:lnTo>
                  <a:pt x="282252" y="1587499"/>
                </a:lnTo>
                <a:lnTo>
                  <a:pt x="290458" y="1600199"/>
                </a:lnTo>
                <a:lnTo>
                  <a:pt x="346313" y="1600199"/>
                </a:lnTo>
                <a:lnTo>
                  <a:pt x="354516" y="1587499"/>
                </a:lnTo>
                <a:lnTo>
                  <a:pt x="357483" y="1562099"/>
                </a:lnTo>
                <a:lnTo>
                  <a:pt x="357483" y="1130299"/>
                </a:lnTo>
                <a:close/>
              </a:path>
              <a:path w="2089784" h="1892300">
                <a:moveTo>
                  <a:pt x="904885" y="1028699"/>
                </a:moveTo>
                <a:lnTo>
                  <a:pt x="821115" y="1028699"/>
                </a:lnTo>
                <a:lnTo>
                  <a:pt x="854593" y="1142999"/>
                </a:lnTo>
                <a:lnTo>
                  <a:pt x="860708" y="1155699"/>
                </a:lnTo>
                <a:lnTo>
                  <a:pt x="869975" y="1168399"/>
                </a:lnTo>
                <a:lnTo>
                  <a:pt x="881334" y="1168399"/>
                </a:lnTo>
                <a:lnTo>
                  <a:pt x="893726" y="1181099"/>
                </a:lnTo>
                <a:lnTo>
                  <a:pt x="1726492" y="1181099"/>
                </a:lnTo>
                <a:lnTo>
                  <a:pt x="1744125" y="1193799"/>
                </a:lnTo>
                <a:lnTo>
                  <a:pt x="1755467" y="1206499"/>
                </a:lnTo>
                <a:lnTo>
                  <a:pt x="1759479" y="1231899"/>
                </a:lnTo>
                <a:lnTo>
                  <a:pt x="1755467" y="1244599"/>
                </a:lnTo>
                <a:lnTo>
                  <a:pt x="1744125" y="1269999"/>
                </a:lnTo>
                <a:lnTo>
                  <a:pt x="1726492" y="1269999"/>
                </a:lnTo>
                <a:lnTo>
                  <a:pt x="1703607" y="1282699"/>
                </a:lnTo>
                <a:lnTo>
                  <a:pt x="1832090" y="1282699"/>
                </a:lnTo>
                <a:lnTo>
                  <a:pt x="1836187" y="1269999"/>
                </a:lnTo>
                <a:lnTo>
                  <a:pt x="1839762" y="1257299"/>
                </a:lnTo>
                <a:lnTo>
                  <a:pt x="1842290" y="1244599"/>
                </a:lnTo>
                <a:lnTo>
                  <a:pt x="1843249" y="1231899"/>
                </a:lnTo>
                <a:lnTo>
                  <a:pt x="1836240" y="1181099"/>
                </a:lnTo>
                <a:lnTo>
                  <a:pt x="1816636" y="1155699"/>
                </a:lnTo>
                <a:lnTo>
                  <a:pt x="1786572" y="1130299"/>
                </a:lnTo>
                <a:lnTo>
                  <a:pt x="1748184" y="1104899"/>
                </a:lnTo>
                <a:lnTo>
                  <a:pt x="927204" y="1104899"/>
                </a:lnTo>
                <a:lnTo>
                  <a:pt x="904885" y="1028699"/>
                </a:lnTo>
                <a:close/>
              </a:path>
              <a:path w="2089784" h="1892300">
                <a:moveTo>
                  <a:pt x="2089204" y="0"/>
                </a:moveTo>
                <a:lnTo>
                  <a:pt x="1014013" y="0"/>
                </a:lnTo>
                <a:lnTo>
                  <a:pt x="1011049" y="12699"/>
                </a:lnTo>
                <a:lnTo>
                  <a:pt x="1011049" y="114299"/>
                </a:lnTo>
                <a:lnTo>
                  <a:pt x="620013" y="215899"/>
                </a:lnTo>
                <a:lnTo>
                  <a:pt x="605438" y="215899"/>
                </a:lnTo>
                <a:lnTo>
                  <a:pt x="595576" y="228599"/>
                </a:lnTo>
                <a:lnTo>
                  <a:pt x="590950" y="241299"/>
                </a:lnTo>
                <a:lnTo>
                  <a:pt x="592085" y="253999"/>
                </a:lnTo>
                <a:lnTo>
                  <a:pt x="793142" y="952499"/>
                </a:lnTo>
                <a:lnTo>
                  <a:pt x="620013" y="1104899"/>
                </a:lnTo>
                <a:lnTo>
                  <a:pt x="738610" y="1104899"/>
                </a:lnTo>
                <a:lnTo>
                  <a:pt x="821115" y="1028699"/>
                </a:lnTo>
                <a:lnTo>
                  <a:pt x="904885" y="1028699"/>
                </a:lnTo>
                <a:lnTo>
                  <a:pt x="882566" y="952499"/>
                </a:lnTo>
                <a:lnTo>
                  <a:pt x="882566" y="939799"/>
                </a:lnTo>
                <a:lnTo>
                  <a:pt x="876986" y="939799"/>
                </a:lnTo>
                <a:lnTo>
                  <a:pt x="681457" y="279399"/>
                </a:lnTo>
                <a:lnTo>
                  <a:pt x="1011049" y="190499"/>
                </a:lnTo>
                <a:lnTo>
                  <a:pt x="1094820" y="190499"/>
                </a:lnTo>
                <a:lnTo>
                  <a:pt x="1094820" y="50799"/>
                </a:lnTo>
                <a:lnTo>
                  <a:pt x="2089204" y="50799"/>
                </a:lnTo>
                <a:lnTo>
                  <a:pt x="2089204" y="0"/>
                </a:lnTo>
                <a:close/>
              </a:path>
              <a:path w="2089784" h="1892300">
                <a:moveTo>
                  <a:pt x="1011049" y="507999"/>
                </a:moveTo>
                <a:lnTo>
                  <a:pt x="868661" y="507999"/>
                </a:lnTo>
                <a:lnTo>
                  <a:pt x="860880" y="520699"/>
                </a:lnTo>
                <a:lnTo>
                  <a:pt x="854158" y="520699"/>
                </a:lnTo>
                <a:lnTo>
                  <a:pt x="849013" y="533399"/>
                </a:lnTo>
                <a:lnTo>
                  <a:pt x="845875" y="533399"/>
                </a:lnTo>
                <a:lnTo>
                  <a:pt x="844829" y="546099"/>
                </a:lnTo>
                <a:lnTo>
                  <a:pt x="845875" y="546099"/>
                </a:lnTo>
                <a:lnTo>
                  <a:pt x="849013" y="558799"/>
                </a:lnTo>
                <a:lnTo>
                  <a:pt x="1005395" y="1104899"/>
                </a:lnTo>
                <a:lnTo>
                  <a:pt x="1094820" y="1104899"/>
                </a:lnTo>
                <a:lnTo>
                  <a:pt x="1094820" y="825499"/>
                </a:lnTo>
                <a:lnTo>
                  <a:pt x="1011049" y="825499"/>
                </a:lnTo>
                <a:lnTo>
                  <a:pt x="938364" y="571499"/>
                </a:lnTo>
                <a:lnTo>
                  <a:pt x="959158" y="558799"/>
                </a:lnTo>
                <a:lnTo>
                  <a:pt x="978891" y="546099"/>
                </a:lnTo>
                <a:lnTo>
                  <a:pt x="996532" y="533399"/>
                </a:lnTo>
                <a:lnTo>
                  <a:pt x="1011049" y="507999"/>
                </a:lnTo>
                <a:close/>
              </a:path>
              <a:path w="2089784" h="1892300">
                <a:moveTo>
                  <a:pt x="1769461" y="177799"/>
                </a:moveTo>
                <a:lnTo>
                  <a:pt x="1352963" y="177799"/>
                </a:lnTo>
                <a:lnTo>
                  <a:pt x="1340561" y="190499"/>
                </a:lnTo>
                <a:lnTo>
                  <a:pt x="1332358" y="203199"/>
                </a:lnTo>
                <a:lnTo>
                  <a:pt x="1329392" y="215899"/>
                </a:lnTo>
                <a:lnTo>
                  <a:pt x="1320574" y="253999"/>
                </a:lnTo>
                <a:lnTo>
                  <a:pt x="1296565" y="279399"/>
                </a:lnTo>
                <a:lnTo>
                  <a:pt x="1261033" y="304799"/>
                </a:lnTo>
                <a:lnTo>
                  <a:pt x="1217648" y="317499"/>
                </a:lnTo>
                <a:lnTo>
                  <a:pt x="1201258" y="317499"/>
                </a:lnTo>
                <a:lnTo>
                  <a:pt x="1186960" y="330199"/>
                </a:lnTo>
                <a:lnTo>
                  <a:pt x="1176847" y="342899"/>
                </a:lnTo>
                <a:lnTo>
                  <a:pt x="1173010" y="355599"/>
                </a:lnTo>
                <a:lnTo>
                  <a:pt x="1173010" y="1104899"/>
                </a:lnTo>
                <a:lnTo>
                  <a:pt x="1256781" y="1104899"/>
                </a:lnTo>
                <a:lnTo>
                  <a:pt x="1256781" y="380999"/>
                </a:lnTo>
                <a:lnTo>
                  <a:pt x="1308623" y="368299"/>
                </a:lnTo>
                <a:lnTo>
                  <a:pt x="1353134" y="342899"/>
                </a:lnTo>
                <a:lnTo>
                  <a:pt x="1387169" y="292099"/>
                </a:lnTo>
                <a:lnTo>
                  <a:pt x="1407583" y="253999"/>
                </a:lnTo>
                <a:lnTo>
                  <a:pt x="1801838" y="253999"/>
                </a:lnTo>
                <a:lnTo>
                  <a:pt x="1793032" y="215899"/>
                </a:lnTo>
                <a:lnTo>
                  <a:pt x="1790066" y="203199"/>
                </a:lnTo>
                <a:lnTo>
                  <a:pt x="1781863" y="190499"/>
                </a:lnTo>
                <a:lnTo>
                  <a:pt x="1769461" y="177799"/>
                </a:lnTo>
                <a:close/>
              </a:path>
              <a:path w="2089784" h="1892300">
                <a:moveTo>
                  <a:pt x="1558385" y="749299"/>
                </a:moveTo>
                <a:lnTo>
                  <a:pt x="1507071" y="761999"/>
                </a:lnTo>
                <a:lnTo>
                  <a:pt x="1460564" y="774699"/>
                </a:lnTo>
                <a:lnTo>
                  <a:pt x="1420881" y="812799"/>
                </a:lnTo>
                <a:lnTo>
                  <a:pt x="1390039" y="838199"/>
                </a:lnTo>
                <a:lnTo>
                  <a:pt x="1370055" y="888999"/>
                </a:lnTo>
                <a:lnTo>
                  <a:pt x="1362945" y="939799"/>
                </a:lnTo>
                <a:lnTo>
                  <a:pt x="1371839" y="990599"/>
                </a:lnTo>
                <a:lnTo>
                  <a:pt x="1396433" y="1041399"/>
                </a:lnTo>
                <a:lnTo>
                  <a:pt x="1433595" y="1079499"/>
                </a:lnTo>
                <a:lnTo>
                  <a:pt x="1480194" y="1104899"/>
                </a:lnTo>
                <a:lnTo>
                  <a:pt x="1636576" y="1104899"/>
                </a:lnTo>
                <a:lnTo>
                  <a:pt x="1677269" y="1079499"/>
                </a:lnTo>
                <a:lnTo>
                  <a:pt x="1711238" y="1054099"/>
                </a:lnTo>
                <a:lnTo>
                  <a:pt x="1719875" y="1041399"/>
                </a:lnTo>
                <a:lnTo>
                  <a:pt x="1558385" y="1041399"/>
                </a:lnTo>
                <a:lnTo>
                  <a:pt x="1515012" y="1028699"/>
                </a:lnTo>
                <a:lnTo>
                  <a:pt x="1479506" y="1003299"/>
                </a:lnTo>
                <a:lnTo>
                  <a:pt x="1455522" y="977899"/>
                </a:lnTo>
                <a:lnTo>
                  <a:pt x="1446716" y="939799"/>
                </a:lnTo>
                <a:lnTo>
                  <a:pt x="1455522" y="888999"/>
                </a:lnTo>
                <a:lnTo>
                  <a:pt x="1479506" y="863599"/>
                </a:lnTo>
                <a:lnTo>
                  <a:pt x="1515012" y="838199"/>
                </a:lnTo>
                <a:lnTo>
                  <a:pt x="1558385" y="825499"/>
                </a:lnTo>
                <a:lnTo>
                  <a:pt x="1715516" y="825499"/>
                </a:lnTo>
                <a:lnTo>
                  <a:pt x="1684445" y="787399"/>
                </a:lnTo>
                <a:lnTo>
                  <a:pt x="1647119" y="774699"/>
                </a:lnTo>
                <a:lnTo>
                  <a:pt x="1604709" y="761999"/>
                </a:lnTo>
                <a:lnTo>
                  <a:pt x="1558385" y="749299"/>
                </a:lnTo>
                <a:close/>
              </a:path>
              <a:path w="2089784" h="1892300">
                <a:moveTo>
                  <a:pt x="1715516" y="825499"/>
                </a:moveTo>
                <a:lnTo>
                  <a:pt x="1558385" y="825499"/>
                </a:lnTo>
                <a:lnTo>
                  <a:pt x="1604995" y="838199"/>
                </a:lnTo>
                <a:lnTo>
                  <a:pt x="1642183" y="863599"/>
                </a:lnTo>
                <a:lnTo>
                  <a:pt x="1666803" y="888999"/>
                </a:lnTo>
                <a:lnTo>
                  <a:pt x="1675708" y="939799"/>
                </a:lnTo>
                <a:lnTo>
                  <a:pt x="1666803" y="977899"/>
                </a:lnTo>
                <a:lnTo>
                  <a:pt x="1642183" y="1003299"/>
                </a:lnTo>
                <a:lnTo>
                  <a:pt x="1604995" y="1028699"/>
                </a:lnTo>
                <a:lnTo>
                  <a:pt x="1558385" y="1041399"/>
                </a:lnTo>
                <a:lnTo>
                  <a:pt x="1719875" y="1041399"/>
                </a:lnTo>
                <a:lnTo>
                  <a:pt x="1737150" y="1015999"/>
                </a:lnTo>
                <a:lnTo>
                  <a:pt x="1753675" y="977899"/>
                </a:lnTo>
                <a:lnTo>
                  <a:pt x="1759479" y="939799"/>
                </a:lnTo>
                <a:lnTo>
                  <a:pt x="1754204" y="888999"/>
                </a:lnTo>
                <a:lnTo>
                  <a:pt x="1739159" y="850899"/>
                </a:lnTo>
                <a:lnTo>
                  <a:pt x="1715516" y="825499"/>
                </a:lnTo>
                <a:close/>
              </a:path>
              <a:path w="2089784" h="1892300">
                <a:moveTo>
                  <a:pt x="1094820" y="190499"/>
                </a:moveTo>
                <a:lnTo>
                  <a:pt x="1011049" y="190499"/>
                </a:lnTo>
                <a:lnTo>
                  <a:pt x="1011049" y="330199"/>
                </a:lnTo>
                <a:lnTo>
                  <a:pt x="983076" y="342899"/>
                </a:lnTo>
                <a:lnTo>
                  <a:pt x="969824" y="342899"/>
                </a:lnTo>
                <a:lnTo>
                  <a:pt x="965029" y="355599"/>
                </a:lnTo>
                <a:lnTo>
                  <a:pt x="960757" y="355599"/>
                </a:lnTo>
                <a:lnTo>
                  <a:pt x="956747" y="368299"/>
                </a:lnTo>
                <a:lnTo>
                  <a:pt x="953782" y="368299"/>
                </a:lnTo>
                <a:lnTo>
                  <a:pt x="952911" y="380999"/>
                </a:lnTo>
                <a:lnTo>
                  <a:pt x="955177" y="380999"/>
                </a:lnTo>
                <a:lnTo>
                  <a:pt x="957868" y="431799"/>
                </a:lnTo>
                <a:lnTo>
                  <a:pt x="943283" y="469899"/>
                </a:lnTo>
                <a:lnTo>
                  <a:pt x="915097" y="495299"/>
                </a:lnTo>
                <a:lnTo>
                  <a:pt x="876986" y="507999"/>
                </a:lnTo>
                <a:lnTo>
                  <a:pt x="1011049" y="507999"/>
                </a:lnTo>
                <a:lnTo>
                  <a:pt x="1011049" y="825499"/>
                </a:lnTo>
                <a:lnTo>
                  <a:pt x="1094820" y="825499"/>
                </a:lnTo>
                <a:lnTo>
                  <a:pt x="1094820" y="190499"/>
                </a:lnTo>
                <a:close/>
              </a:path>
              <a:path w="2089784" h="1892300">
                <a:moveTo>
                  <a:pt x="1801838" y="253999"/>
                </a:moveTo>
                <a:lnTo>
                  <a:pt x="1714841" y="253999"/>
                </a:lnTo>
                <a:lnTo>
                  <a:pt x="1734383" y="292099"/>
                </a:lnTo>
                <a:lnTo>
                  <a:pt x="1766500" y="342899"/>
                </a:lnTo>
                <a:lnTo>
                  <a:pt x="1809093" y="368299"/>
                </a:lnTo>
                <a:lnTo>
                  <a:pt x="1860063" y="380999"/>
                </a:lnTo>
                <a:lnTo>
                  <a:pt x="1860063" y="507999"/>
                </a:lnTo>
                <a:lnTo>
                  <a:pt x="1863899" y="520699"/>
                </a:lnTo>
                <a:lnTo>
                  <a:pt x="1874012" y="533399"/>
                </a:lnTo>
                <a:lnTo>
                  <a:pt x="1932665" y="533399"/>
                </a:lnTo>
                <a:lnTo>
                  <a:pt x="1940868" y="520699"/>
                </a:lnTo>
                <a:lnTo>
                  <a:pt x="1943834" y="507999"/>
                </a:lnTo>
                <a:lnTo>
                  <a:pt x="1943834" y="355599"/>
                </a:lnTo>
                <a:lnTo>
                  <a:pt x="1940868" y="342899"/>
                </a:lnTo>
                <a:lnTo>
                  <a:pt x="1932665" y="330199"/>
                </a:lnTo>
                <a:lnTo>
                  <a:pt x="1920263" y="317499"/>
                </a:lnTo>
                <a:lnTo>
                  <a:pt x="1904701" y="317499"/>
                </a:lnTo>
                <a:lnTo>
                  <a:pt x="1861328" y="304799"/>
                </a:lnTo>
                <a:lnTo>
                  <a:pt x="1825822" y="279399"/>
                </a:lnTo>
                <a:lnTo>
                  <a:pt x="1801838" y="253999"/>
                </a:lnTo>
                <a:close/>
              </a:path>
            </a:pathLst>
          </a:custGeom>
          <a:solidFill>
            <a:srgbClr val="4F9B4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3" name="object 11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  <p:pic>
        <p:nvPicPr>
          <p:cNvPr id="2050" name="Picture 2" descr="C:\Users\ZhSuNA\Pictures\fss15256691929847878-a.jp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6338113" y="4851400"/>
            <a:ext cx="2805887" cy="14239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18266" y="545036"/>
            <a:ext cx="6815666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Расходы на меры социальной поддержки населения в 2022 году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0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xmlns="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Овал 5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60,6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11" name="Скругленный прямоугольник 10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259,8</a:t>
              </a:r>
              <a:endParaRPr lang="ru-RU" dirty="0"/>
            </a:p>
          </p:txBody>
        </p:sp>
      </p:grpSp>
      <p:grpSp>
        <p:nvGrpSpPr>
          <p:cNvPr id="8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33%</a:t>
              </a:r>
            </a:p>
          </p:txBody>
        </p:sp>
        <p:grpSp>
          <p:nvGrpSpPr>
            <p:cNvPr id="12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5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6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7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18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14" name="Группа 13"/>
          <p:cNvGrpSpPr/>
          <p:nvPr/>
        </p:nvGrpSpPr>
        <p:grpSpPr>
          <a:xfrm>
            <a:off x="391025" y="3834351"/>
            <a:ext cx="2081846" cy="1540800"/>
            <a:chOff x="171004" y="4754736"/>
            <a:chExt cx="2268000" cy="1540800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47,4</a:t>
              </a:r>
              <a:endParaRPr lang="ru-RU" dirty="0"/>
            </a:p>
          </p:txBody>
        </p:sp>
      </p:grpSp>
      <p:cxnSp>
        <p:nvCxnSpPr>
          <p:cNvPr id="23" name="Прямая соединительная линия 22"/>
          <p:cNvCxnSpPr/>
          <p:nvPr/>
        </p:nvCxnSpPr>
        <p:spPr>
          <a:xfrm>
            <a:off x="2540000" y="5350933"/>
            <a:ext cx="1031868" cy="365671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24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27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29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26" name="Группа 45"/>
          <p:cNvGrpSpPr/>
          <p:nvPr/>
        </p:nvGrpSpPr>
        <p:grpSpPr>
          <a:xfrm>
            <a:off x="6383866" y="1514376"/>
            <a:ext cx="2514599" cy="2287157"/>
            <a:chOff x="132904" y="4754736"/>
            <a:chExt cx="2081088" cy="1512168"/>
          </a:xfrm>
        </p:grpSpPr>
        <p:sp>
          <p:nvSpPr>
            <p:cNvPr id="31" name="Скругленный прямоугольник 30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132904" y="4898442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33" name="Скругленный прямоугольник 32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9,5</a:t>
              </a:r>
              <a:endParaRPr lang="ru-RU" dirty="0"/>
            </a:p>
          </p:txBody>
        </p:sp>
      </p:grpSp>
      <p:cxnSp>
        <p:nvCxnSpPr>
          <p:cNvPr id="34" name="Прямая соединительная линия 33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56%</a:t>
              </a:r>
            </a:p>
          </p:txBody>
        </p:sp>
        <p:grpSp>
          <p:nvGrpSpPr>
            <p:cNvPr id="35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38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39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0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1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2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43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grpSp>
        <p:nvGrpSpPr>
          <p:cNvPr id="37" name="Группа 39"/>
          <p:cNvGrpSpPr/>
          <p:nvPr/>
        </p:nvGrpSpPr>
        <p:grpSpPr>
          <a:xfrm>
            <a:off x="6392333" y="3917961"/>
            <a:ext cx="2497667" cy="1466840"/>
            <a:chOff x="132904" y="4754736"/>
            <a:chExt cx="2081088" cy="1512168"/>
          </a:xfrm>
        </p:grpSpPr>
        <p:sp>
          <p:nvSpPr>
            <p:cNvPr id="45" name="Скругленный прямоугольник 44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,9</a:t>
              </a:r>
              <a:endParaRPr lang="ru-RU" dirty="0"/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 flipV="1">
            <a:off x="4857752" y="5266267"/>
            <a:ext cx="1500715" cy="5201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50" name="Овал 49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49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52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3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4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  <p:sp>
            <p:nvSpPr>
              <p:cNvPr id="55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/>
              </a:p>
            </p:txBody>
          </p:sp>
        </p:grpSp>
      </p:grpSp>
      <p:pic>
        <p:nvPicPr>
          <p:cNvPr id="57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ZhSuNA\Pictures\content_______.pn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>
            <a:off x="0" y="1104900"/>
            <a:ext cx="9144000" cy="48006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209800" y="518901"/>
            <a:ext cx="68241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Благоустройство и содержание территории</a:t>
            </a:r>
            <a:endParaRPr lang="ru-RU" altLang="ru-RU" sz="1500" b="1" dirty="0" smtClean="0">
              <a:latin typeface="Arial Black" pitchFamily="34" charset="0"/>
            </a:endParaRP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        на 2022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1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1"/>
            </p:custDataLst>
          </p:nvPr>
        </p:nvSpPr>
        <p:spPr>
          <a:xfrm>
            <a:off x="488396" y="1678622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/>
          <p:cNvSpPr/>
          <p:nvPr>
            <p:custDataLst>
              <p:tags r:id="rId2"/>
            </p:custDataLst>
          </p:nvPr>
        </p:nvSpPr>
        <p:spPr>
          <a:xfrm>
            <a:off x="488397" y="1780833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6" name="Скругленный прямоугольник 5"/>
          <p:cNvSpPr/>
          <p:nvPr>
            <p:custDataLst>
              <p:tags r:id="rId3"/>
            </p:custDataLst>
          </p:nvPr>
        </p:nvSpPr>
        <p:spPr>
          <a:xfrm>
            <a:off x="599919" y="2444801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6,3</a:t>
            </a:r>
            <a:endParaRPr lang="ru-RU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4"/>
            </p:custDataLst>
          </p:nvPr>
        </p:nvSpPr>
        <p:spPr>
          <a:xfrm>
            <a:off x="6516216" y="1700808"/>
            <a:ext cx="230425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>
            <p:custDataLst>
              <p:tags r:id="rId5"/>
            </p:custDataLst>
          </p:nvPr>
        </p:nvSpPr>
        <p:spPr>
          <a:xfrm>
            <a:off x="6357950" y="1700808"/>
            <a:ext cx="2534530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общественных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 города</a:t>
            </a:r>
            <a:endParaRPr lang="ru-RU" sz="1500" b="1" dirty="0"/>
          </a:p>
        </p:txBody>
      </p:sp>
      <p:sp>
        <p:nvSpPr>
          <p:cNvPr id="9" name="Скругленный прямоугольник 8"/>
          <p:cNvSpPr/>
          <p:nvPr>
            <p:custDataLst>
              <p:tags r:id="rId6"/>
            </p:custDataLst>
          </p:nvPr>
        </p:nvSpPr>
        <p:spPr>
          <a:xfrm>
            <a:off x="6804248" y="2517169"/>
            <a:ext cx="1683378" cy="400691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5,9</a:t>
            </a:r>
            <a:endParaRPr lang="ru-RU" b="1" dirty="0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66429" y="3208908"/>
            <a:ext cx="2016224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607120" y="332851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и зеленых насаждений </a:t>
            </a:r>
            <a:endParaRPr lang="ru-RU" sz="1500" b="1" dirty="0"/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810444" y="4051796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2</a:t>
            </a:r>
            <a:endParaRPr lang="ru-RU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562187" y="3524921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673710" y="4306423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,7</a:t>
            </a:r>
            <a:endParaRPr lang="ru-RU" b="1" dirty="0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491880" y="3808554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3275856" y="3861048"/>
            <a:ext cx="259228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«Аллеи любви»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(2 очередь)</a:t>
            </a:r>
            <a:endParaRPr lang="ru-RU" sz="15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697853" y="4581128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7,9</a:t>
            </a:r>
            <a:endParaRPr lang="ru-RU" b="1" dirty="0"/>
          </a:p>
        </p:txBody>
      </p:sp>
      <p:grpSp>
        <p:nvGrpSpPr>
          <p:cNvPr id="18" name="Группа 8"/>
          <p:cNvGrpSpPr/>
          <p:nvPr/>
        </p:nvGrpSpPr>
        <p:grpSpPr>
          <a:xfrm>
            <a:off x="3538461" y="2355370"/>
            <a:ext cx="189763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19" name="Скругленный прямоугольник 18"/>
            <p:cNvSpPr/>
            <p:nvPr>
              <p:custDataLst>
                <p:tags r:id="rId15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6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ln/>
          </p:spPr>
          <p:style>
            <a:lnRef idx="3">
              <a:schemeClr val="lt1"/>
            </a:lnRef>
            <a:fillRef idx="1">
              <a:schemeClr val="accent6"/>
            </a:fillRef>
            <a:effectRef idx="1">
              <a:schemeClr val="accent6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249,9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H="1">
            <a:off x="4499992" y="3429000"/>
            <a:ext cx="12475" cy="4515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>
            <a:off x="2483888" y="2264069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V="1">
            <a:off x="2411760" y="3212977"/>
            <a:ext cx="1152128" cy="86409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5364088" y="2280644"/>
            <a:ext cx="1152128" cy="6823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H="1" flipV="1">
            <a:off x="5400208" y="3212976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Скругленный прямоугольник 27"/>
          <p:cNvSpPr/>
          <p:nvPr>
            <p:custDataLst>
              <p:tags r:id="rId7"/>
            </p:custDataLst>
          </p:nvPr>
        </p:nvSpPr>
        <p:spPr>
          <a:xfrm>
            <a:off x="3491880" y="1124744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кругленный прямоугольник 28"/>
          <p:cNvSpPr/>
          <p:nvPr>
            <p:custDataLst>
              <p:tags r:id="rId8"/>
            </p:custDataLst>
          </p:nvPr>
        </p:nvSpPr>
        <p:spPr>
          <a:xfrm>
            <a:off x="1691680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Скругленный прямоугольник 29"/>
          <p:cNvSpPr/>
          <p:nvPr>
            <p:custDataLst>
              <p:tags r:id="rId9"/>
            </p:custDataLst>
          </p:nvPr>
        </p:nvSpPr>
        <p:spPr>
          <a:xfrm>
            <a:off x="5436096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3707904" y="1700808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6,1</a:t>
            </a:r>
            <a:endParaRPr lang="ru-RU" b="1" dirty="0"/>
          </a:p>
        </p:txBody>
      </p:sp>
      <p:sp>
        <p:nvSpPr>
          <p:cNvPr id="32" name="Скругленный прямоугольник 31"/>
          <p:cNvSpPr/>
          <p:nvPr>
            <p:custDataLst>
              <p:tags r:id="rId11"/>
            </p:custDataLst>
          </p:nvPr>
        </p:nvSpPr>
        <p:spPr>
          <a:xfrm>
            <a:off x="1835696" y="5805264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5</a:t>
            </a:r>
            <a:endParaRPr lang="ru-RU" b="1" dirty="0"/>
          </a:p>
        </p:txBody>
      </p:sp>
      <p:sp>
        <p:nvSpPr>
          <p:cNvPr id="33" name="Скругленный прямоугольник 32"/>
          <p:cNvSpPr/>
          <p:nvPr>
            <p:custDataLst>
              <p:tags r:id="rId12"/>
            </p:custDataLst>
          </p:nvPr>
        </p:nvSpPr>
        <p:spPr>
          <a:xfrm>
            <a:off x="5508104" y="5805264"/>
            <a:ext cx="1683378" cy="408244"/>
          </a:xfrm>
          <a:prstGeom prst="roundRect">
            <a:avLst>
              <a:gd name="adj" fmla="val 50000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8,3</a:t>
            </a:r>
            <a:endParaRPr lang="ru-RU" b="1" dirty="0"/>
          </a:p>
        </p:txBody>
      </p:sp>
      <p:sp>
        <p:nvSpPr>
          <p:cNvPr id="34" name="Прямоугольник 33"/>
          <p:cNvSpPr/>
          <p:nvPr>
            <p:custDataLst>
              <p:tags r:id="rId13"/>
            </p:custDataLst>
          </p:nvPr>
        </p:nvSpPr>
        <p:spPr>
          <a:xfrm>
            <a:off x="3347864" y="1124743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>
          <a:xfrm>
            <a:off x="5364088" y="5013176"/>
            <a:ext cx="1993994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 и курортной зоны</a:t>
            </a:r>
            <a:endParaRPr lang="ru-RU" sz="1500" b="1" dirty="0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flipV="1">
            <a:off x="3059832" y="3284984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 flipH="1" flipV="1">
            <a:off x="5220072" y="3356992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Прямоугольник 39"/>
          <p:cNvSpPr/>
          <p:nvPr/>
        </p:nvSpPr>
        <p:spPr>
          <a:xfrm>
            <a:off x="6516216" y="3573016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города</a:t>
            </a:r>
            <a:endParaRPr lang="ru-RU" sz="1500" b="1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1808251" y="5178175"/>
            <a:ext cx="186989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</a:t>
            </a:r>
            <a:endParaRPr lang="ru-RU" sz="1500" b="1" dirty="0"/>
          </a:p>
        </p:txBody>
      </p:sp>
      <p:pic>
        <p:nvPicPr>
          <p:cNvPr id="56" name="object 11"/>
          <p:cNvPicPr/>
          <p:nvPr/>
        </p:nvPicPr>
        <p:blipFill>
          <a:blip r:embed="rId19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ZhSuNA\Pictures\97-978348_progressive-programs-family-house-icon-png.png"/>
          <p:cNvPicPr>
            <a:picLocks noChangeAspect="1" noChangeArrowheads="1"/>
          </p:cNvPicPr>
          <p:nvPr/>
        </p:nvPicPr>
        <p:blipFill>
          <a:blip r:embed="rId62"/>
          <a:srcRect/>
          <a:stretch>
            <a:fillRect/>
          </a:stretch>
        </p:blipFill>
        <p:spPr bwMode="auto">
          <a:xfrm>
            <a:off x="896938" y="1168400"/>
            <a:ext cx="7091362" cy="5354069"/>
          </a:xfrm>
          <a:prstGeom prst="rect">
            <a:avLst/>
          </a:prstGeom>
          <a:noFill/>
        </p:spPr>
      </p:pic>
      <p:sp>
        <p:nvSpPr>
          <p:cNvPr id="76" name="Скругленный прямоугольник 75"/>
          <p:cNvSpPr/>
          <p:nvPr>
            <p:custDataLst>
              <p:tags r:id="rId1"/>
            </p:custDataLst>
          </p:nvPr>
        </p:nvSpPr>
        <p:spPr>
          <a:xfrm>
            <a:off x="7078717" y="4103099"/>
            <a:ext cx="1587062" cy="384818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01334" y="524935"/>
            <a:ext cx="6815666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еспечение жильем молодых семей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2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2"/>
            </p:custDataLst>
          </p:nvPr>
        </p:nvSpPr>
        <p:spPr>
          <a:xfrm>
            <a:off x="0" y="4109544"/>
            <a:ext cx="1744717" cy="336331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>
            <p:custDataLst>
              <p:tags r:id="rId3"/>
            </p:custDataLst>
          </p:nvPr>
        </p:nvSpPr>
        <p:spPr>
          <a:xfrm>
            <a:off x="202907" y="1730526"/>
            <a:ext cx="1368152" cy="417313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Скругленный прямоугольник 5"/>
          <p:cNvSpPr/>
          <p:nvPr>
            <p:custDataLst>
              <p:tags r:id="rId4"/>
            </p:custDataLst>
          </p:nvPr>
        </p:nvSpPr>
        <p:spPr>
          <a:xfrm>
            <a:off x="315392" y="2276623"/>
            <a:ext cx="1080120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5"/>
            </p:custDataLst>
          </p:nvPr>
        </p:nvSpPr>
        <p:spPr>
          <a:xfrm>
            <a:off x="397910" y="2903674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433150" y="1741037"/>
            <a:ext cx="1440160" cy="43204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2577166" y="2297644"/>
            <a:ext cx="1122641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>
            <p:custDataLst>
              <p:tags r:id="rId8"/>
            </p:custDataLst>
          </p:nvPr>
        </p:nvCxnSpPr>
        <p:spPr>
          <a:xfrm>
            <a:off x="7916466" y="2677140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>
            <p:custDataLst>
              <p:tags r:id="rId9"/>
            </p:custDataLst>
          </p:nvPr>
        </p:nvCxnSpPr>
        <p:spPr>
          <a:xfrm>
            <a:off x="3163740" y="269816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63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20717" y="3469228"/>
            <a:ext cx="544451" cy="514439"/>
          </a:xfrm>
          <a:prstGeom prst="rect">
            <a:avLst/>
          </a:prstGeom>
          <a:noFill/>
        </p:spPr>
      </p:pic>
      <p:pic>
        <p:nvPicPr>
          <p:cNvPr id="16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965028" y="3479739"/>
            <a:ext cx="558972" cy="504056"/>
          </a:xfrm>
          <a:prstGeom prst="rect">
            <a:avLst/>
          </a:prstGeom>
          <a:noFill/>
        </p:spPr>
      </p:pic>
      <p:grpSp>
        <p:nvGrpSpPr>
          <p:cNvPr id="7" name="Группа 46"/>
          <p:cNvGrpSpPr/>
          <p:nvPr>
            <p:custDataLst>
              <p:tags r:id="rId12"/>
            </p:custDataLst>
          </p:nvPr>
        </p:nvGrpSpPr>
        <p:grpSpPr>
          <a:xfrm>
            <a:off x="0" y="4666597"/>
            <a:ext cx="935420" cy="451946"/>
            <a:chOff x="875117" y="6121521"/>
            <a:chExt cx="1447857" cy="391313"/>
          </a:xfrm>
        </p:grpSpPr>
        <p:sp>
          <p:nvSpPr>
            <p:cNvPr id="19" name="Овал 18"/>
            <p:cNvSpPr/>
            <p:nvPr>
              <p:custDataLst>
                <p:tags r:id="rId59"/>
              </p:custDataLst>
            </p:nvPr>
          </p:nvSpPr>
          <p:spPr>
            <a:xfrm flipH="1">
              <a:off x="1425856" y="6121521"/>
              <a:ext cx="32773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0" name="TextBox 19"/>
            <p:cNvSpPr txBox="1"/>
            <p:nvPr>
              <p:custDataLst>
                <p:tags r:id="rId60"/>
              </p:custDataLst>
            </p:nvPr>
          </p:nvSpPr>
          <p:spPr>
            <a:xfrm>
              <a:off x="875117" y="6228734"/>
              <a:ext cx="1447857" cy="2841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9" name="Группа 52"/>
          <p:cNvGrpSpPr/>
          <p:nvPr>
            <p:custDataLst>
              <p:tags r:id="rId13"/>
            </p:custDataLst>
          </p:nvPr>
        </p:nvGrpSpPr>
        <p:grpSpPr>
          <a:xfrm>
            <a:off x="882869" y="4687609"/>
            <a:ext cx="872360" cy="483486"/>
            <a:chOff x="844076" y="6005984"/>
            <a:chExt cx="2049056" cy="336371"/>
          </a:xfrm>
        </p:grpSpPr>
        <p:sp>
          <p:nvSpPr>
            <p:cNvPr id="22" name="Овал 21"/>
            <p:cNvSpPr/>
            <p:nvPr>
              <p:custDataLst>
                <p:tags r:id="rId57"/>
              </p:custDataLst>
            </p:nvPr>
          </p:nvSpPr>
          <p:spPr>
            <a:xfrm>
              <a:off x="1658763" y="6005984"/>
              <a:ext cx="469059" cy="12430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58"/>
              </p:custDataLst>
            </p:nvPr>
          </p:nvSpPr>
          <p:spPr>
            <a:xfrm>
              <a:off x="844076" y="6060504"/>
              <a:ext cx="2049056" cy="281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4" name="Скругленный прямоугольник 23"/>
          <p:cNvSpPr/>
          <p:nvPr>
            <p:custDataLst>
              <p:tags r:id="rId14"/>
            </p:custDataLst>
          </p:nvPr>
        </p:nvSpPr>
        <p:spPr>
          <a:xfrm>
            <a:off x="4782207" y="4087333"/>
            <a:ext cx="1587062" cy="390074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" name="Скругленный прямоугольник 24"/>
          <p:cNvSpPr/>
          <p:nvPr>
            <p:custDataLst>
              <p:tags r:id="rId15"/>
            </p:custDataLst>
          </p:nvPr>
        </p:nvSpPr>
        <p:spPr>
          <a:xfrm>
            <a:off x="2659684" y="2861633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16"/>
            </p:custDataLst>
          </p:nvPr>
        </p:nvSpPr>
        <p:spPr>
          <a:xfrm>
            <a:off x="4894620" y="1730525"/>
            <a:ext cx="1440160" cy="43204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</a:p>
        </p:txBody>
      </p:sp>
      <p:sp>
        <p:nvSpPr>
          <p:cNvPr id="36" name="Скругленный прямоугольник 35"/>
          <p:cNvSpPr/>
          <p:nvPr>
            <p:custDataLst>
              <p:tags r:id="rId17"/>
            </p:custDataLst>
          </p:nvPr>
        </p:nvSpPr>
        <p:spPr>
          <a:xfrm>
            <a:off x="4468495" y="2276623"/>
            <a:ext cx="2143140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многодетные 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7" name="Скругленный прямоугольник 36"/>
          <p:cNvSpPr/>
          <p:nvPr>
            <p:custDataLst>
              <p:tags r:id="rId18"/>
            </p:custDataLst>
          </p:nvPr>
        </p:nvSpPr>
        <p:spPr>
          <a:xfrm>
            <a:off x="5152686" y="2851123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38" name="Скругленный прямоугольник 37"/>
          <p:cNvSpPr/>
          <p:nvPr>
            <p:custDataLst>
              <p:tags r:id="rId19"/>
            </p:custDataLst>
          </p:nvPr>
        </p:nvSpPr>
        <p:spPr>
          <a:xfrm>
            <a:off x="2301766" y="4141076"/>
            <a:ext cx="1597572" cy="325821"/>
          </a:xfrm>
          <a:prstGeom prst="roundRect">
            <a:avLst>
              <a:gd name="adj" fmla="val 20277"/>
            </a:avLst>
          </a:prstGeom>
          <a:solidFill>
            <a:srgbClr val="C6D9F1">
              <a:alpha val="4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t"/>
          <a:lstStyle/>
          <a:p>
            <a:pPr algn="ctr"/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6" name="Прямая соединительная линия 55"/>
          <p:cNvCxnSpPr/>
          <p:nvPr>
            <p:custDataLst>
              <p:tags r:id="rId20"/>
            </p:custDataLst>
          </p:nvPr>
        </p:nvCxnSpPr>
        <p:spPr>
          <a:xfrm>
            <a:off x="856719" y="2713927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Скругленный прямоугольник 57"/>
          <p:cNvSpPr/>
          <p:nvPr>
            <p:custDataLst>
              <p:tags r:id="rId21"/>
            </p:custDataLst>
          </p:nvPr>
        </p:nvSpPr>
        <p:spPr>
          <a:xfrm>
            <a:off x="960214" y="4149150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</a:p>
        </p:txBody>
      </p:sp>
      <p:sp>
        <p:nvSpPr>
          <p:cNvPr id="59" name="Скругленный прямоугольник 58"/>
          <p:cNvSpPr/>
          <p:nvPr>
            <p:custDataLst>
              <p:tags r:id="rId22"/>
            </p:custDataLst>
          </p:nvPr>
        </p:nvSpPr>
        <p:spPr>
          <a:xfrm>
            <a:off x="5674104" y="4133384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2</a:t>
            </a:r>
          </a:p>
        </p:txBody>
      </p:sp>
      <p:sp>
        <p:nvSpPr>
          <p:cNvPr id="60" name="Скругленный прямоугольник 59"/>
          <p:cNvSpPr/>
          <p:nvPr>
            <p:custDataLst>
              <p:tags r:id="rId23"/>
            </p:custDataLst>
          </p:nvPr>
        </p:nvSpPr>
        <p:spPr>
          <a:xfrm>
            <a:off x="3225193" y="4143894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</a:p>
        </p:txBody>
      </p:sp>
      <p:sp>
        <p:nvSpPr>
          <p:cNvPr id="61" name="Скругленный прямоугольник 60"/>
          <p:cNvSpPr/>
          <p:nvPr>
            <p:custDataLst>
              <p:tags r:id="rId24"/>
            </p:custDataLst>
          </p:nvPr>
        </p:nvSpPr>
        <p:spPr>
          <a:xfrm>
            <a:off x="7933827" y="4133384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bg1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4,9</a:t>
            </a:r>
          </a:p>
        </p:txBody>
      </p:sp>
      <p:sp>
        <p:nvSpPr>
          <p:cNvPr id="62" name="Скругленный прямоугольник 61"/>
          <p:cNvSpPr/>
          <p:nvPr>
            <p:custDataLst>
              <p:tags r:id="rId25"/>
            </p:custDataLst>
          </p:nvPr>
        </p:nvSpPr>
        <p:spPr>
          <a:xfrm>
            <a:off x="7119275" y="4117618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4</a:t>
            </a:r>
          </a:p>
        </p:txBody>
      </p:sp>
      <p:sp>
        <p:nvSpPr>
          <p:cNvPr id="63" name="Скругленный прямоугольник 62"/>
          <p:cNvSpPr/>
          <p:nvPr>
            <p:custDataLst>
              <p:tags r:id="rId26"/>
            </p:custDataLst>
          </p:nvPr>
        </p:nvSpPr>
        <p:spPr>
          <a:xfrm>
            <a:off x="126125" y="4154406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1,0</a:t>
            </a:r>
          </a:p>
        </p:txBody>
      </p:sp>
      <p:sp>
        <p:nvSpPr>
          <p:cNvPr id="64" name="Скругленный прямоугольник 63"/>
          <p:cNvSpPr/>
          <p:nvPr>
            <p:custDataLst>
              <p:tags r:id="rId27"/>
            </p:custDataLst>
          </p:nvPr>
        </p:nvSpPr>
        <p:spPr>
          <a:xfrm>
            <a:off x="2352834" y="4133383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2,0</a:t>
            </a:r>
          </a:p>
        </p:txBody>
      </p:sp>
      <p:sp>
        <p:nvSpPr>
          <p:cNvPr id="65" name="Скругленный прямоугольник 64"/>
          <p:cNvSpPr/>
          <p:nvPr>
            <p:custDataLst>
              <p:tags r:id="rId28"/>
            </p:custDataLst>
          </p:nvPr>
        </p:nvSpPr>
        <p:spPr>
          <a:xfrm>
            <a:off x="4801745" y="4112364"/>
            <a:ext cx="700421" cy="286216"/>
          </a:xfrm>
          <a:prstGeom prst="roundRect">
            <a:avLst>
              <a:gd name="adj" fmla="val 50000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000" b="1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0,5</a:t>
            </a:r>
          </a:p>
        </p:txBody>
      </p:sp>
      <p:sp>
        <p:nvSpPr>
          <p:cNvPr id="66" name="Скругленный прямоугольник 65"/>
          <p:cNvSpPr/>
          <p:nvPr>
            <p:custDataLst>
              <p:tags r:id="rId29"/>
            </p:custDataLst>
          </p:nvPr>
        </p:nvSpPr>
        <p:spPr>
          <a:xfrm>
            <a:off x="7170109" y="1714761"/>
            <a:ext cx="1440160" cy="43204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2 </a:t>
            </a:r>
          </a:p>
        </p:txBody>
      </p:sp>
      <p:sp>
        <p:nvSpPr>
          <p:cNvPr id="67" name="Скругленный прямоугольник 66"/>
          <p:cNvSpPr/>
          <p:nvPr>
            <p:custDataLst>
              <p:tags r:id="rId30"/>
            </p:custDataLst>
          </p:nvPr>
        </p:nvSpPr>
        <p:spPr>
          <a:xfrm>
            <a:off x="6817557" y="2281878"/>
            <a:ext cx="2143140" cy="360000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6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многодетных 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>
            <p:custDataLst>
              <p:tags r:id="rId31"/>
            </p:custDataLst>
          </p:nvPr>
        </p:nvCxnSpPr>
        <p:spPr>
          <a:xfrm>
            <a:off x="5628416" y="2661375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Скругленный прямоугольник 68"/>
          <p:cNvSpPr/>
          <p:nvPr>
            <p:custDataLst>
              <p:tags r:id="rId32"/>
            </p:custDataLst>
          </p:nvPr>
        </p:nvSpPr>
        <p:spPr>
          <a:xfrm>
            <a:off x="7407155" y="2835358"/>
            <a:ext cx="936104" cy="432048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7,3</a:t>
            </a:r>
          </a:p>
        </p:txBody>
      </p:sp>
      <p:pic>
        <p:nvPicPr>
          <p:cNvPr id="7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3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546834" y="3484994"/>
            <a:ext cx="558972" cy="504056"/>
          </a:xfrm>
          <a:prstGeom prst="rect">
            <a:avLst/>
          </a:prstGeom>
          <a:noFill/>
        </p:spPr>
      </p:pic>
      <p:pic>
        <p:nvPicPr>
          <p:cNvPr id="7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4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303580" y="3474483"/>
            <a:ext cx="558972" cy="504056"/>
          </a:xfrm>
          <a:prstGeom prst="rect">
            <a:avLst/>
          </a:prstGeom>
          <a:noFill/>
        </p:spPr>
      </p:pic>
      <p:pic>
        <p:nvPicPr>
          <p:cNvPr id="7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5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974725" y="3453462"/>
            <a:ext cx="558972" cy="504056"/>
          </a:xfrm>
          <a:prstGeom prst="rect">
            <a:avLst/>
          </a:prstGeom>
          <a:noFill/>
        </p:spPr>
      </p:pic>
      <p:pic>
        <p:nvPicPr>
          <p:cNvPr id="73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6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689428" y="3442952"/>
            <a:ext cx="558972" cy="504056"/>
          </a:xfrm>
          <a:prstGeom prst="rect">
            <a:avLst/>
          </a:prstGeom>
          <a:noFill/>
        </p:spPr>
      </p:pic>
      <p:pic>
        <p:nvPicPr>
          <p:cNvPr id="74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7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297510" y="3421932"/>
            <a:ext cx="558972" cy="504056"/>
          </a:xfrm>
          <a:prstGeom prst="rect">
            <a:avLst/>
          </a:prstGeom>
          <a:noFill/>
        </p:spPr>
      </p:pic>
      <p:pic>
        <p:nvPicPr>
          <p:cNvPr id="75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38"/>
            </p:custDataLst>
          </p:nvPr>
        </p:nvPicPr>
        <p:blipFill>
          <a:blip r:embed="rId64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970173" y="3421931"/>
            <a:ext cx="558972" cy="504056"/>
          </a:xfrm>
          <a:prstGeom prst="rect">
            <a:avLst/>
          </a:prstGeom>
          <a:noFill/>
        </p:spPr>
      </p:pic>
      <p:grpSp>
        <p:nvGrpSpPr>
          <p:cNvPr id="10" name="Группа 46"/>
          <p:cNvGrpSpPr/>
          <p:nvPr>
            <p:custDataLst>
              <p:tags r:id="rId39"/>
            </p:custDataLst>
          </p:nvPr>
        </p:nvGrpSpPr>
        <p:grpSpPr>
          <a:xfrm>
            <a:off x="2233449" y="4682363"/>
            <a:ext cx="935420" cy="451946"/>
            <a:chOff x="875117" y="6121521"/>
            <a:chExt cx="1447857" cy="391313"/>
          </a:xfrm>
        </p:grpSpPr>
        <p:sp>
          <p:nvSpPr>
            <p:cNvPr id="78" name="Овал 77"/>
            <p:cNvSpPr/>
            <p:nvPr>
              <p:custDataLst>
                <p:tags r:id="rId55"/>
              </p:custDataLst>
            </p:nvPr>
          </p:nvSpPr>
          <p:spPr>
            <a:xfrm flipH="1">
              <a:off x="1425856" y="6121521"/>
              <a:ext cx="32773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79" name="TextBox 78"/>
            <p:cNvSpPr txBox="1"/>
            <p:nvPr>
              <p:custDataLst>
                <p:tags r:id="rId56"/>
              </p:custDataLst>
            </p:nvPr>
          </p:nvSpPr>
          <p:spPr>
            <a:xfrm>
              <a:off x="875117" y="6228734"/>
              <a:ext cx="1447857" cy="2841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7" name="Группа 46"/>
          <p:cNvGrpSpPr/>
          <p:nvPr>
            <p:custDataLst>
              <p:tags r:id="rId40"/>
            </p:custDataLst>
          </p:nvPr>
        </p:nvGrpSpPr>
        <p:grpSpPr>
          <a:xfrm>
            <a:off x="4687615" y="4666597"/>
            <a:ext cx="935420" cy="451946"/>
            <a:chOff x="875117" y="6121521"/>
            <a:chExt cx="1447857" cy="391313"/>
          </a:xfrm>
        </p:grpSpPr>
        <p:sp>
          <p:nvSpPr>
            <p:cNvPr id="81" name="Овал 80"/>
            <p:cNvSpPr/>
            <p:nvPr>
              <p:custDataLst>
                <p:tags r:id="rId53"/>
              </p:custDataLst>
            </p:nvPr>
          </p:nvSpPr>
          <p:spPr>
            <a:xfrm flipH="1">
              <a:off x="1425856" y="6121521"/>
              <a:ext cx="32773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2" name="TextBox 81"/>
            <p:cNvSpPr txBox="1"/>
            <p:nvPr>
              <p:custDataLst>
                <p:tags r:id="rId54"/>
              </p:custDataLst>
            </p:nvPr>
          </p:nvSpPr>
          <p:spPr>
            <a:xfrm>
              <a:off x="875117" y="6228734"/>
              <a:ext cx="1447857" cy="2841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8" name="Группа 46"/>
          <p:cNvGrpSpPr/>
          <p:nvPr>
            <p:custDataLst>
              <p:tags r:id="rId41"/>
            </p:custDataLst>
          </p:nvPr>
        </p:nvGrpSpPr>
        <p:grpSpPr>
          <a:xfrm>
            <a:off x="6968359" y="4687618"/>
            <a:ext cx="935420" cy="451946"/>
            <a:chOff x="875117" y="6121521"/>
            <a:chExt cx="1447857" cy="391313"/>
          </a:xfrm>
        </p:grpSpPr>
        <p:sp>
          <p:nvSpPr>
            <p:cNvPr id="84" name="Овал 83"/>
            <p:cNvSpPr/>
            <p:nvPr>
              <p:custDataLst>
                <p:tags r:id="rId51"/>
              </p:custDataLst>
            </p:nvPr>
          </p:nvSpPr>
          <p:spPr>
            <a:xfrm flipH="1">
              <a:off x="1425856" y="6121521"/>
              <a:ext cx="327736" cy="173367"/>
            </a:xfrm>
            <a:prstGeom prst="ellipse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5" name="TextBox 84"/>
            <p:cNvSpPr txBox="1"/>
            <p:nvPr>
              <p:custDataLst>
                <p:tags r:id="rId52"/>
              </p:custDataLst>
            </p:nvPr>
          </p:nvSpPr>
          <p:spPr>
            <a:xfrm>
              <a:off x="875117" y="6228734"/>
              <a:ext cx="1447857" cy="28410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Группа 52"/>
          <p:cNvGrpSpPr/>
          <p:nvPr>
            <p:custDataLst>
              <p:tags r:id="rId42"/>
            </p:custDataLst>
          </p:nvPr>
        </p:nvGrpSpPr>
        <p:grpSpPr>
          <a:xfrm>
            <a:off x="3105806" y="4692863"/>
            <a:ext cx="872360" cy="483486"/>
            <a:chOff x="844076" y="6005984"/>
            <a:chExt cx="2049056" cy="336371"/>
          </a:xfrm>
        </p:grpSpPr>
        <p:sp>
          <p:nvSpPr>
            <p:cNvPr id="87" name="Овал 86"/>
            <p:cNvSpPr/>
            <p:nvPr>
              <p:custDataLst>
                <p:tags r:id="rId49"/>
              </p:custDataLst>
            </p:nvPr>
          </p:nvSpPr>
          <p:spPr>
            <a:xfrm>
              <a:off x="1658763" y="6005984"/>
              <a:ext cx="469059" cy="12430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88" name="TextBox 87"/>
            <p:cNvSpPr txBox="1"/>
            <p:nvPr>
              <p:custDataLst>
                <p:tags r:id="rId50"/>
              </p:custDataLst>
            </p:nvPr>
          </p:nvSpPr>
          <p:spPr>
            <a:xfrm>
              <a:off x="844076" y="6060504"/>
              <a:ext cx="2049056" cy="281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6" name="Группа 52"/>
          <p:cNvGrpSpPr/>
          <p:nvPr>
            <p:custDataLst>
              <p:tags r:id="rId43"/>
            </p:custDataLst>
          </p:nvPr>
        </p:nvGrpSpPr>
        <p:grpSpPr>
          <a:xfrm>
            <a:off x="5596759" y="4692863"/>
            <a:ext cx="872360" cy="483486"/>
            <a:chOff x="844076" y="6005984"/>
            <a:chExt cx="2049056" cy="336371"/>
          </a:xfrm>
        </p:grpSpPr>
        <p:sp>
          <p:nvSpPr>
            <p:cNvPr id="90" name="Овал 89"/>
            <p:cNvSpPr/>
            <p:nvPr>
              <p:custDataLst>
                <p:tags r:id="rId47"/>
              </p:custDataLst>
            </p:nvPr>
          </p:nvSpPr>
          <p:spPr>
            <a:xfrm>
              <a:off x="1658763" y="6005984"/>
              <a:ext cx="469059" cy="12430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1" name="TextBox 90"/>
            <p:cNvSpPr txBox="1"/>
            <p:nvPr>
              <p:custDataLst>
                <p:tags r:id="rId48"/>
              </p:custDataLst>
            </p:nvPr>
          </p:nvSpPr>
          <p:spPr>
            <a:xfrm>
              <a:off x="844076" y="6060504"/>
              <a:ext cx="2049056" cy="281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7" name="Группа 52"/>
          <p:cNvGrpSpPr/>
          <p:nvPr>
            <p:custDataLst>
              <p:tags r:id="rId44"/>
            </p:custDataLst>
          </p:nvPr>
        </p:nvGrpSpPr>
        <p:grpSpPr>
          <a:xfrm>
            <a:off x="7888014" y="4682354"/>
            <a:ext cx="872360" cy="483486"/>
            <a:chOff x="844076" y="6005984"/>
            <a:chExt cx="2049056" cy="336371"/>
          </a:xfrm>
        </p:grpSpPr>
        <p:sp>
          <p:nvSpPr>
            <p:cNvPr id="93" name="Овал 92"/>
            <p:cNvSpPr/>
            <p:nvPr>
              <p:custDataLst>
                <p:tags r:id="rId45"/>
              </p:custDataLst>
            </p:nvPr>
          </p:nvSpPr>
          <p:spPr>
            <a:xfrm>
              <a:off x="1658763" y="6005984"/>
              <a:ext cx="469059" cy="124304"/>
            </a:xfrm>
            <a:prstGeom prst="ellipse">
              <a:avLst/>
            </a:prstGeom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94" name="TextBox 93"/>
            <p:cNvSpPr txBox="1"/>
            <p:nvPr>
              <p:custDataLst>
                <p:tags r:id="rId46"/>
              </p:custDataLst>
            </p:nvPr>
          </p:nvSpPr>
          <p:spPr>
            <a:xfrm>
              <a:off x="844076" y="6060504"/>
              <a:ext cx="2049056" cy="2818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 algn="ctr">
                <a:lnSpc>
                  <a:spcPts val="1400"/>
                </a:lnSpc>
                <a:defRPr/>
              </a:pPr>
              <a:r>
                <a:rPr lang="ru-RU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sz="1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pic>
        <p:nvPicPr>
          <p:cNvPr id="77" name="object 11"/>
          <p:cNvPicPr/>
          <p:nvPr/>
        </p:nvPicPr>
        <p:blipFill>
          <a:blip r:embed="rId65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Picture 3" descr="C:\Users\ZhSuNA\Pictures\прпапрапрпа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731000" y="5231284"/>
            <a:ext cx="2413000" cy="1117129"/>
          </a:xfrm>
          <a:prstGeom prst="rect">
            <a:avLst/>
          </a:prstGeom>
          <a:noFill/>
        </p:spPr>
      </p:pic>
      <p:pic>
        <p:nvPicPr>
          <p:cNvPr id="5122" name="Picture 2" descr="C:\Users\ZhSuNA\Pictures\screenshot_1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400424" y="5279715"/>
            <a:ext cx="3343275" cy="1206809"/>
          </a:xfrm>
          <a:prstGeom prst="rect">
            <a:avLst/>
          </a:prstGeom>
          <a:noFill/>
        </p:spPr>
      </p:pic>
      <p:pic>
        <p:nvPicPr>
          <p:cNvPr id="5125" name="Picture 5" descr="C:\Users\ZhSuNA\Pictures\scale_1200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43001" y="5378872"/>
            <a:ext cx="2120899" cy="1161627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209801" y="491067"/>
            <a:ext cx="6824133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Финансирование региональных проектов на реализацию федеральных (национальных) проектов в 2022 году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3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4" name="Пятиугольник 3"/>
          <p:cNvSpPr/>
          <p:nvPr/>
        </p:nvSpPr>
        <p:spPr>
          <a:xfrm>
            <a:off x="4078941" y="1303230"/>
            <a:ext cx="2830324" cy="651076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7073153" y="1201271"/>
            <a:ext cx="1937527" cy="770965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25506" y="2067203"/>
            <a:ext cx="4248472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Пятиугольник 6"/>
          <p:cNvSpPr/>
          <p:nvPr/>
        </p:nvSpPr>
        <p:spPr>
          <a:xfrm>
            <a:off x="4767265" y="2137802"/>
            <a:ext cx="1974193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Овал 7"/>
          <p:cNvSpPr/>
          <p:nvPr/>
        </p:nvSpPr>
        <p:spPr>
          <a:xfrm>
            <a:off x="7255096" y="2075622"/>
            <a:ext cx="1691679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Rectangle 19"/>
          <p:cNvSpPr>
            <a:spLocks noChangeArrowheads="1"/>
          </p:cNvSpPr>
          <p:nvPr/>
        </p:nvSpPr>
        <p:spPr bwMode="auto">
          <a:xfrm>
            <a:off x="160214" y="2226611"/>
            <a:ext cx="41764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Культурная сред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61366" y="2838168"/>
            <a:ext cx="4248472" cy="74771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3435" y="3716711"/>
            <a:ext cx="4248472" cy="613243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5153" y="4572000"/>
            <a:ext cx="4248472" cy="878541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5" name="Rectangle 19"/>
          <p:cNvSpPr>
            <a:spLocks noChangeArrowheads="1"/>
          </p:cNvSpPr>
          <p:nvPr/>
        </p:nvSpPr>
        <p:spPr bwMode="auto">
          <a:xfrm>
            <a:off x="289412" y="3857890"/>
            <a:ext cx="398675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Чистая стран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16" name="Rectangle 19"/>
          <p:cNvSpPr>
            <a:spLocks noChangeArrowheads="1"/>
          </p:cNvSpPr>
          <p:nvPr/>
        </p:nvSpPr>
        <p:spPr bwMode="auto">
          <a:xfrm>
            <a:off x="316305" y="2934525"/>
            <a:ext cx="3986754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17" name="Rectangle 19"/>
          <p:cNvSpPr>
            <a:spLocks noChangeArrowheads="1"/>
          </p:cNvSpPr>
          <p:nvPr/>
        </p:nvSpPr>
        <p:spPr bwMode="auto">
          <a:xfrm>
            <a:off x="352165" y="4625789"/>
            <a:ext cx="3986754" cy="860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инансовая поддержка семей при рождении детей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18" name="Пятиугольник 17"/>
          <p:cNvSpPr/>
          <p:nvPr/>
        </p:nvSpPr>
        <p:spPr>
          <a:xfrm>
            <a:off x="4812089" y="2917732"/>
            <a:ext cx="1974193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27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Пятиугольник 18"/>
          <p:cNvSpPr/>
          <p:nvPr/>
        </p:nvSpPr>
        <p:spPr>
          <a:xfrm>
            <a:off x="4838983" y="3778343"/>
            <a:ext cx="1974193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24,3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0" name="Пятиугольник 19"/>
          <p:cNvSpPr/>
          <p:nvPr/>
        </p:nvSpPr>
        <p:spPr>
          <a:xfrm>
            <a:off x="4856911" y="4782390"/>
            <a:ext cx="1974193" cy="479891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66,7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/>
        </p:nvSpPr>
        <p:spPr>
          <a:xfrm>
            <a:off x="7281990" y="2837622"/>
            <a:ext cx="1691679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7246131" y="3769951"/>
            <a:ext cx="1691679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2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3" name="Овал 22"/>
          <p:cNvSpPr/>
          <p:nvPr/>
        </p:nvSpPr>
        <p:spPr>
          <a:xfrm>
            <a:off x="7299920" y="4711245"/>
            <a:ext cx="1691679" cy="54207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24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26733" y="518901"/>
            <a:ext cx="6798734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Софинансирование субсидий из регионального (краевого) бюджета в 2022 году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4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4" name="Таблица 53"/>
          <p:cNvGraphicFramePr>
            <a:graphicFrameLocks noGrp="1"/>
          </p:cNvGraphicFramePr>
          <p:nvPr/>
        </p:nvGraphicFramePr>
        <p:xfrm>
          <a:off x="101600" y="1134532"/>
          <a:ext cx="8923868" cy="52281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38919"/>
                <a:gridCol w="1167696"/>
                <a:gridCol w="1417253"/>
              </a:tblGrid>
              <a:tr h="952023"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сего сумма</a:t>
                      </a:r>
                      <a:endParaRPr lang="ru-RU" sz="15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5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5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5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53848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5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1500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музыкальных инструментов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3,7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2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47126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бретение жилья молодым семьям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47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4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5975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Комплектование книжных фондов 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46549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Ликвидация несанкционированных свалок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24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3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59400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ведение антитеррористических мероприятий в образовательных организациях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2,6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46224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офилактика терроризма 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01</a:t>
                      </a:r>
                    </a:p>
                  </a:txBody>
                  <a:tcPr marL="7620" marR="7620" marT="762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38494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Формирование современной городской среды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127,9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0,1</a:t>
                      </a:r>
                    </a:p>
                  </a:txBody>
                  <a:tcPr marL="7620" marR="7620" marT="7620" marB="0" anchor="ctr">
                    <a:solidFill>
                      <a:srgbClr val="4F9B43"/>
                    </a:solidFill>
                  </a:tcPr>
                </a:tc>
              </a:tr>
              <a:tr h="38494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того: 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431,1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6,4</a:t>
                      </a:r>
                    </a:p>
                  </a:txBody>
                  <a:tcPr marL="7620" marR="7620" marT="762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5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Users\ZhSuNA\Pictures\02.png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203200" y="1181100"/>
            <a:ext cx="3048000" cy="3048000"/>
          </a:xfrm>
          <a:prstGeom prst="rect">
            <a:avLst/>
          </a:prstGeom>
          <a:noFill/>
        </p:spPr>
      </p:pic>
      <p:pic>
        <p:nvPicPr>
          <p:cNvPr id="6147" name="Picture 3" descr="C:\Users\ZhSuNA\Pictures\Bezymyannyyeeeen6.png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432175" y="1244600"/>
            <a:ext cx="5508789" cy="4013200"/>
          </a:xfrm>
          <a:prstGeom prst="rect">
            <a:avLst/>
          </a:prstGeom>
          <a:noFill/>
        </p:spPr>
      </p:pic>
      <p:cxnSp>
        <p:nvCxnSpPr>
          <p:cNvPr id="17" name="Прямая соединительная линия 16"/>
          <p:cNvCxnSpPr/>
          <p:nvPr/>
        </p:nvCxnSpPr>
        <p:spPr>
          <a:xfrm>
            <a:off x="4803228" y="2532993"/>
            <a:ext cx="15765" cy="163436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7562193" y="2433145"/>
            <a:ext cx="42041" cy="169216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576552" y="2469931"/>
            <a:ext cx="42041" cy="169216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2209800" y="613501"/>
            <a:ext cx="6824133" cy="491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600" b="1" dirty="0" smtClean="0">
                <a:latin typeface="Arial Black" pitchFamily="34" charset="0"/>
              </a:rPr>
              <a:t>Бюджетные инвестиции на 2022 год и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600" b="1" dirty="0" smtClean="0">
                <a:latin typeface="Arial Black" pitchFamily="34" charset="0"/>
              </a:rPr>
              <a:t>плановый период 2023-2024 годов </a:t>
            </a:r>
            <a:endParaRPr lang="ru-RU" altLang="ru-RU" sz="16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5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4" name="Скругленный прямоугольник 3"/>
          <p:cNvSpPr/>
          <p:nvPr>
            <p:custDataLst>
              <p:tags r:id="rId1"/>
            </p:custDataLst>
          </p:nvPr>
        </p:nvSpPr>
        <p:spPr>
          <a:xfrm>
            <a:off x="6852745" y="1819863"/>
            <a:ext cx="1505276" cy="597516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4  год</a:t>
            </a:r>
          </a:p>
        </p:txBody>
      </p:sp>
      <p:sp>
        <p:nvSpPr>
          <p:cNvPr id="5" name="Скругленный прямоугольник 4"/>
          <p:cNvSpPr/>
          <p:nvPr>
            <p:custDataLst>
              <p:tags r:id="rId2"/>
            </p:custDataLst>
          </p:nvPr>
        </p:nvSpPr>
        <p:spPr>
          <a:xfrm>
            <a:off x="4011749" y="1856650"/>
            <a:ext cx="1558733" cy="581749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3 год </a:t>
            </a:r>
          </a:p>
        </p:txBody>
      </p:sp>
      <p:sp>
        <p:nvSpPr>
          <p:cNvPr id="6" name="Скругленный прямоугольник 5"/>
          <p:cNvSpPr/>
          <p:nvPr>
            <p:custDataLst>
              <p:tags r:id="rId3"/>
            </p:custDataLst>
          </p:nvPr>
        </p:nvSpPr>
        <p:spPr>
          <a:xfrm>
            <a:off x="816606" y="1839310"/>
            <a:ext cx="1558732" cy="578068"/>
          </a:xfrm>
          <a:prstGeom prst="roundRect">
            <a:avLst>
              <a:gd name="adj" fmla="val 50000"/>
            </a:avLst>
          </a:prstGeom>
          <a:solidFill>
            <a:schemeClr val="accent6">
              <a:lumMod val="7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2 год 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779172" y="2984938"/>
            <a:ext cx="1417442" cy="672661"/>
          </a:xfrm>
          <a:prstGeom prst="roundRect">
            <a:avLst>
              <a:gd name="adj" fmla="val 31566"/>
            </a:avLst>
          </a:prstGeom>
          <a:solidFill>
            <a:srgbClr val="CC53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399,8</a:t>
            </a:r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053385" y="2985785"/>
            <a:ext cx="1475056" cy="682326"/>
          </a:xfrm>
          <a:prstGeom prst="roundRect">
            <a:avLst>
              <a:gd name="adj" fmla="val 31566"/>
            </a:avLst>
          </a:prstGeom>
          <a:solidFill>
            <a:srgbClr val="CC53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66,5</a:t>
            </a:r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89771" y="2953407"/>
            <a:ext cx="1390973" cy="704193"/>
          </a:xfrm>
          <a:prstGeom prst="roundRect">
            <a:avLst>
              <a:gd name="adj" fmla="val 31566"/>
            </a:avLst>
          </a:prstGeom>
          <a:solidFill>
            <a:srgbClr val="CC53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6</a:t>
            </a:r>
            <a:endParaRPr lang="ru-RU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4"/>
            </p:custDataLst>
          </p:nvPr>
        </p:nvSpPr>
        <p:spPr>
          <a:xfrm>
            <a:off x="304800" y="4193627"/>
            <a:ext cx="2596055" cy="1040525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Приобретение </a:t>
            </a: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жилого помещения в муниципальную собственность</a:t>
            </a:r>
            <a:endParaRPr lang="ru-RU" sz="16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5"/>
            </p:custDataLst>
          </p:nvPr>
        </p:nvSpPr>
        <p:spPr>
          <a:xfrm>
            <a:off x="4148083" y="5207695"/>
            <a:ext cx="4277709" cy="1044645"/>
          </a:xfrm>
          <a:prstGeom prst="roundRect">
            <a:avLst>
              <a:gd name="adj" fmla="val 50000"/>
            </a:avLst>
          </a:prstGeom>
          <a:solidFill>
            <a:srgbClr val="A5C4F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троительство новой муниципальной общеобразовательной школы в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жилом районе Капельница</a:t>
            </a:r>
            <a:endParaRPr lang="ru-RU" sz="1200" b="1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15" name="object 11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41"/>
          <p:cNvSpPr/>
          <p:nvPr/>
        </p:nvSpPr>
        <p:spPr>
          <a:xfrm>
            <a:off x="0" y="1384300"/>
            <a:ext cx="2747518" cy="2013521"/>
          </a:xfrm>
          <a:custGeom>
            <a:avLst/>
            <a:gdLst/>
            <a:ahLst/>
            <a:cxnLst/>
            <a:rect l="l" t="t" r="r" b="b"/>
            <a:pathLst>
              <a:path w="826770" h="657225">
                <a:moveTo>
                  <a:pt x="281419" y="393776"/>
                </a:moveTo>
                <a:lnTo>
                  <a:pt x="279184" y="391490"/>
                </a:lnTo>
                <a:lnTo>
                  <a:pt x="279184" y="389204"/>
                </a:lnTo>
                <a:lnTo>
                  <a:pt x="274713" y="384619"/>
                </a:lnTo>
                <a:lnTo>
                  <a:pt x="272478" y="384619"/>
                </a:lnTo>
                <a:lnTo>
                  <a:pt x="272478" y="382333"/>
                </a:lnTo>
                <a:lnTo>
                  <a:pt x="268008" y="382333"/>
                </a:lnTo>
                <a:lnTo>
                  <a:pt x="265772" y="380047"/>
                </a:lnTo>
                <a:lnTo>
                  <a:pt x="263550" y="380047"/>
                </a:lnTo>
                <a:lnTo>
                  <a:pt x="261315" y="382333"/>
                </a:lnTo>
                <a:lnTo>
                  <a:pt x="256844" y="382333"/>
                </a:lnTo>
                <a:lnTo>
                  <a:pt x="254609" y="384619"/>
                </a:lnTo>
                <a:lnTo>
                  <a:pt x="252374" y="384619"/>
                </a:lnTo>
                <a:lnTo>
                  <a:pt x="252374" y="386905"/>
                </a:lnTo>
                <a:lnTo>
                  <a:pt x="250151" y="389204"/>
                </a:lnTo>
                <a:lnTo>
                  <a:pt x="250151" y="391490"/>
                </a:lnTo>
                <a:lnTo>
                  <a:pt x="247916" y="391490"/>
                </a:lnTo>
                <a:lnTo>
                  <a:pt x="247916" y="402945"/>
                </a:lnTo>
                <a:lnTo>
                  <a:pt x="250151" y="405231"/>
                </a:lnTo>
                <a:lnTo>
                  <a:pt x="250151" y="407517"/>
                </a:lnTo>
                <a:lnTo>
                  <a:pt x="252374" y="407517"/>
                </a:lnTo>
                <a:lnTo>
                  <a:pt x="252374" y="409803"/>
                </a:lnTo>
                <a:lnTo>
                  <a:pt x="254609" y="412089"/>
                </a:lnTo>
                <a:lnTo>
                  <a:pt x="256844" y="412089"/>
                </a:lnTo>
                <a:lnTo>
                  <a:pt x="259080" y="414388"/>
                </a:lnTo>
                <a:lnTo>
                  <a:pt x="270243" y="414388"/>
                </a:lnTo>
                <a:lnTo>
                  <a:pt x="272478" y="412089"/>
                </a:lnTo>
                <a:lnTo>
                  <a:pt x="274713" y="412089"/>
                </a:lnTo>
                <a:lnTo>
                  <a:pt x="274713" y="409803"/>
                </a:lnTo>
                <a:lnTo>
                  <a:pt x="276948" y="409803"/>
                </a:lnTo>
                <a:lnTo>
                  <a:pt x="276948" y="407517"/>
                </a:lnTo>
                <a:lnTo>
                  <a:pt x="279184" y="407517"/>
                </a:lnTo>
                <a:lnTo>
                  <a:pt x="279184" y="402945"/>
                </a:lnTo>
                <a:lnTo>
                  <a:pt x="281419" y="402945"/>
                </a:lnTo>
                <a:lnTo>
                  <a:pt x="281419" y="393776"/>
                </a:lnTo>
                <a:close/>
              </a:path>
              <a:path w="826770" h="657225">
                <a:moveTo>
                  <a:pt x="540486" y="611276"/>
                </a:moveTo>
                <a:lnTo>
                  <a:pt x="513181" y="566839"/>
                </a:lnTo>
                <a:lnTo>
                  <a:pt x="506996" y="565543"/>
                </a:lnTo>
                <a:lnTo>
                  <a:pt x="506996" y="604405"/>
                </a:lnTo>
                <a:lnTo>
                  <a:pt x="506996" y="625005"/>
                </a:lnTo>
                <a:lnTo>
                  <a:pt x="31267" y="625005"/>
                </a:lnTo>
                <a:lnTo>
                  <a:pt x="31267" y="604405"/>
                </a:lnTo>
                <a:lnTo>
                  <a:pt x="37960" y="597535"/>
                </a:lnTo>
                <a:lnTo>
                  <a:pt x="502526" y="597535"/>
                </a:lnTo>
                <a:lnTo>
                  <a:pt x="506996" y="604405"/>
                </a:lnTo>
                <a:lnTo>
                  <a:pt x="506996" y="565543"/>
                </a:lnTo>
                <a:lnTo>
                  <a:pt x="495833" y="563194"/>
                </a:lnTo>
                <a:lnTo>
                  <a:pt x="475729" y="563194"/>
                </a:lnTo>
                <a:lnTo>
                  <a:pt x="442226" y="456488"/>
                </a:lnTo>
                <a:lnTo>
                  <a:pt x="442226" y="563194"/>
                </a:lnTo>
                <a:lnTo>
                  <a:pt x="98272" y="563194"/>
                </a:lnTo>
                <a:lnTo>
                  <a:pt x="136232" y="444144"/>
                </a:lnTo>
                <a:lnTo>
                  <a:pt x="207187" y="426542"/>
                </a:lnTo>
                <a:lnTo>
                  <a:pt x="211899" y="422402"/>
                </a:lnTo>
                <a:lnTo>
                  <a:pt x="214515" y="416534"/>
                </a:lnTo>
                <a:lnTo>
                  <a:pt x="214414" y="409803"/>
                </a:lnTo>
                <a:lnTo>
                  <a:pt x="213385" y="407517"/>
                </a:lnTo>
                <a:lnTo>
                  <a:pt x="211582" y="403479"/>
                </a:lnTo>
                <a:lnTo>
                  <a:pt x="206870" y="398640"/>
                </a:lnTo>
                <a:lnTo>
                  <a:pt x="200901" y="395960"/>
                </a:lnTo>
                <a:lnTo>
                  <a:pt x="194310" y="396074"/>
                </a:lnTo>
                <a:lnTo>
                  <a:pt x="147408" y="407517"/>
                </a:lnTo>
                <a:lnTo>
                  <a:pt x="160807" y="364020"/>
                </a:lnTo>
                <a:lnTo>
                  <a:pt x="176441" y="309092"/>
                </a:lnTo>
                <a:lnTo>
                  <a:pt x="340461" y="272427"/>
                </a:lnTo>
                <a:lnTo>
                  <a:pt x="350659" y="270154"/>
                </a:lnTo>
                <a:lnTo>
                  <a:pt x="377469" y="354863"/>
                </a:lnTo>
                <a:lnTo>
                  <a:pt x="317677" y="370179"/>
                </a:lnTo>
                <a:lnTo>
                  <a:pt x="312966" y="374319"/>
                </a:lnTo>
                <a:lnTo>
                  <a:pt x="310337" y="380187"/>
                </a:lnTo>
                <a:lnTo>
                  <a:pt x="310451" y="386905"/>
                </a:lnTo>
                <a:lnTo>
                  <a:pt x="313270" y="393242"/>
                </a:lnTo>
                <a:lnTo>
                  <a:pt x="317995" y="398068"/>
                </a:lnTo>
                <a:lnTo>
                  <a:pt x="323964" y="400761"/>
                </a:lnTo>
                <a:lnTo>
                  <a:pt x="330555" y="400646"/>
                </a:lnTo>
                <a:lnTo>
                  <a:pt x="386397" y="389204"/>
                </a:lnTo>
                <a:lnTo>
                  <a:pt x="442226" y="563194"/>
                </a:lnTo>
                <a:lnTo>
                  <a:pt x="442226" y="456488"/>
                </a:lnTo>
                <a:lnTo>
                  <a:pt x="421106" y="389204"/>
                </a:lnTo>
                <a:lnTo>
                  <a:pt x="413194" y="364020"/>
                </a:lnTo>
                <a:lnTo>
                  <a:pt x="386143" y="270154"/>
                </a:lnTo>
                <a:lnTo>
                  <a:pt x="384162" y="263283"/>
                </a:lnTo>
                <a:lnTo>
                  <a:pt x="339483" y="120396"/>
                </a:lnTo>
                <a:lnTo>
                  <a:pt x="339483" y="238086"/>
                </a:lnTo>
                <a:lnTo>
                  <a:pt x="187604" y="272427"/>
                </a:lnTo>
                <a:lnTo>
                  <a:pt x="243446" y="96151"/>
                </a:lnTo>
                <a:lnTo>
                  <a:pt x="245681" y="91592"/>
                </a:lnTo>
                <a:lnTo>
                  <a:pt x="250151" y="89281"/>
                </a:lnTo>
                <a:lnTo>
                  <a:pt x="290347" y="89281"/>
                </a:lnTo>
                <a:lnTo>
                  <a:pt x="294817" y="91592"/>
                </a:lnTo>
                <a:lnTo>
                  <a:pt x="297053" y="96151"/>
                </a:lnTo>
                <a:lnTo>
                  <a:pt x="339483" y="238086"/>
                </a:lnTo>
                <a:lnTo>
                  <a:pt x="339483" y="120396"/>
                </a:lnTo>
                <a:lnTo>
                  <a:pt x="321386" y="72339"/>
                </a:lnTo>
                <a:lnTo>
                  <a:pt x="285877" y="54965"/>
                </a:lnTo>
                <a:lnTo>
                  <a:pt x="254609" y="54965"/>
                </a:lnTo>
                <a:lnTo>
                  <a:pt x="218808" y="72339"/>
                </a:lnTo>
                <a:lnTo>
                  <a:pt x="127304" y="359435"/>
                </a:lnTo>
                <a:lnTo>
                  <a:pt x="107200" y="423545"/>
                </a:lnTo>
                <a:lnTo>
                  <a:pt x="62534" y="563194"/>
                </a:lnTo>
                <a:lnTo>
                  <a:pt x="44665" y="563194"/>
                </a:lnTo>
                <a:lnTo>
                  <a:pt x="27317" y="566839"/>
                </a:lnTo>
                <a:lnTo>
                  <a:pt x="13119" y="576935"/>
                </a:lnTo>
                <a:lnTo>
                  <a:pt x="3517" y="592162"/>
                </a:lnTo>
                <a:lnTo>
                  <a:pt x="0" y="611276"/>
                </a:lnTo>
                <a:lnTo>
                  <a:pt x="0" y="650189"/>
                </a:lnTo>
                <a:lnTo>
                  <a:pt x="6692" y="657059"/>
                </a:lnTo>
                <a:lnTo>
                  <a:pt x="533793" y="657059"/>
                </a:lnTo>
                <a:lnTo>
                  <a:pt x="540486" y="650189"/>
                </a:lnTo>
                <a:lnTo>
                  <a:pt x="540486" y="625005"/>
                </a:lnTo>
                <a:lnTo>
                  <a:pt x="540486" y="611276"/>
                </a:lnTo>
                <a:close/>
              </a:path>
              <a:path w="826770" h="657225">
                <a:moveTo>
                  <a:pt x="558647" y="99593"/>
                </a:moveTo>
                <a:lnTo>
                  <a:pt x="527100" y="52654"/>
                </a:lnTo>
                <a:lnTo>
                  <a:pt x="514819" y="47244"/>
                </a:lnTo>
                <a:lnTo>
                  <a:pt x="508254" y="47840"/>
                </a:lnTo>
                <a:lnTo>
                  <a:pt x="502526" y="50380"/>
                </a:lnTo>
                <a:lnTo>
                  <a:pt x="498729" y="55918"/>
                </a:lnTo>
                <a:lnTo>
                  <a:pt x="497230" y="62115"/>
                </a:lnTo>
                <a:lnTo>
                  <a:pt x="497827" y="68732"/>
                </a:lnTo>
                <a:lnTo>
                  <a:pt x="500303" y="75565"/>
                </a:lnTo>
                <a:lnTo>
                  <a:pt x="529336" y="109905"/>
                </a:lnTo>
                <a:lnTo>
                  <a:pt x="531558" y="114465"/>
                </a:lnTo>
                <a:lnTo>
                  <a:pt x="549440" y="114465"/>
                </a:lnTo>
                <a:lnTo>
                  <a:pt x="551675" y="112191"/>
                </a:lnTo>
                <a:lnTo>
                  <a:pt x="556729" y="106324"/>
                </a:lnTo>
                <a:lnTo>
                  <a:pt x="558647" y="99593"/>
                </a:lnTo>
                <a:close/>
              </a:path>
              <a:path w="826770" h="657225">
                <a:moveTo>
                  <a:pt x="678967" y="4597"/>
                </a:moveTo>
                <a:lnTo>
                  <a:pt x="670039" y="0"/>
                </a:lnTo>
                <a:lnTo>
                  <a:pt x="661123" y="0"/>
                </a:lnTo>
                <a:lnTo>
                  <a:pt x="652157" y="0"/>
                </a:lnTo>
                <a:lnTo>
                  <a:pt x="645464" y="4597"/>
                </a:lnTo>
                <a:lnTo>
                  <a:pt x="645464" y="77838"/>
                </a:lnTo>
                <a:lnTo>
                  <a:pt x="652157" y="86995"/>
                </a:lnTo>
                <a:lnTo>
                  <a:pt x="661123" y="86995"/>
                </a:lnTo>
                <a:lnTo>
                  <a:pt x="667677" y="85432"/>
                </a:lnTo>
                <a:lnTo>
                  <a:pt x="673392" y="81280"/>
                </a:lnTo>
                <a:lnTo>
                  <a:pt x="677430" y="75412"/>
                </a:lnTo>
                <a:lnTo>
                  <a:pt x="678967" y="68694"/>
                </a:lnTo>
                <a:lnTo>
                  <a:pt x="678967" y="4597"/>
                </a:lnTo>
                <a:close/>
              </a:path>
              <a:path w="826770" h="657225">
                <a:moveTo>
                  <a:pt x="766102" y="187744"/>
                </a:moveTo>
                <a:lnTo>
                  <a:pt x="763841" y="185432"/>
                </a:lnTo>
                <a:lnTo>
                  <a:pt x="763841" y="183159"/>
                </a:lnTo>
                <a:lnTo>
                  <a:pt x="761606" y="180873"/>
                </a:lnTo>
                <a:lnTo>
                  <a:pt x="761606" y="178587"/>
                </a:lnTo>
                <a:lnTo>
                  <a:pt x="757148" y="174002"/>
                </a:lnTo>
                <a:lnTo>
                  <a:pt x="743762" y="174002"/>
                </a:lnTo>
                <a:lnTo>
                  <a:pt x="741527" y="176276"/>
                </a:lnTo>
                <a:lnTo>
                  <a:pt x="739292" y="176276"/>
                </a:lnTo>
                <a:lnTo>
                  <a:pt x="734809" y="180873"/>
                </a:lnTo>
                <a:lnTo>
                  <a:pt x="734809" y="183159"/>
                </a:lnTo>
                <a:lnTo>
                  <a:pt x="732574" y="185432"/>
                </a:lnTo>
                <a:lnTo>
                  <a:pt x="732574" y="196900"/>
                </a:lnTo>
                <a:lnTo>
                  <a:pt x="734809" y="196900"/>
                </a:lnTo>
                <a:lnTo>
                  <a:pt x="734809" y="201460"/>
                </a:lnTo>
                <a:lnTo>
                  <a:pt x="737031" y="201460"/>
                </a:lnTo>
                <a:lnTo>
                  <a:pt x="737031" y="203784"/>
                </a:lnTo>
                <a:lnTo>
                  <a:pt x="739292" y="203784"/>
                </a:lnTo>
                <a:lnTo>
                  <a:pt x="741527" y="206057"/>
                </a:lnTo>
                <a:lnTo>
                  <a:pt x="745985" y="206057"/>
                </a:lnTo>
                <a:lnTo>
                  <a:pt x="745985" y="208343"/>
                </a:lnTo>
                <a:lnTo>
                  <a:pt x="752678" y="208343"/>
                </a:lnTo>
                <a:lnTo>
                  <a:pt x="757148" y="206057"/>
                </a:lnTo>
                <a:lnTo>
                  <a:pt x="761606" y="201460"/>
                </a:lnTo>
                <a:lnTo>
                  <a:pt x="761606" y="199186"/>
                </a:lnTo>
                <a:lnTo>
                  <a:pt x="763841" y="199186"/>
                </a:lnTo>
                <a:lnTo>
                  <a:pt x="763841" y="194589"/>
                </a:lnTo>
                <a:lnTo>
                  <a:pt x="766102" y="194589"/>
                </a:lnTo>
                <a:lnTo>
                  <a:pt x="766102" y="187744"/>
                </a:lnTo>
                <a:close/>
              </a:path>
              <a:path w="826770" h="657225">
                <a:moveTo>
                  <a:pt x="826668" y="62115"/>
                </a:moveTo>
                <a:lnTo>
                  <a:pt x="824750" y="55918"/>
                </a:lnTo>
                <a:lnTo>
                  <a:pt x="819670" y="50380"/>
                </a:lnTo>
                <a:lnTo>
                  <a:pt x="812977" y="45808"/>
                </a:lnTo>
                <a:lnTo>
                  <a:pt x="804062" y="45808"/>
                </a:lnTo>
                <a:lnTo>
                  <a:pt x="797369" y="52654"/>
                </a:lnTo>
                <a:lnTo>
                  <a:pt x="768324" y="86995"/>
                </a:lnTo>
                <a:lnTo>
                  <a:pt x="765835" y="92875"/>
                </a:lnTo>
                <a:lnTo>
                  <a:pt x="765238" y="99593"/>
                </a:lnTo>
                <a:lnTo>
                  <a:pt x="766749" y="106324"/>
                </a:lnTo>
                <a:lnTo>
                  <a:pt x="770559" y="112191"/>
                </a:lnTo>
                <a:lnTo>
                  <a:pt x="775030" y="114465"/>
                </a:lnTo>
                <a:lnTo>
                  <a:pt x="790638" y="114465"/>
                </a:lnTo>
                <a:lnTo>
                  <a:pt x="795134" y="109905"/>
                </a:lnTo>
                <a:lnTo>
                  <a:pt x="821931" y="75565"/>
                </a:lnTo>
                <a:lnTo>
                  <a:pt x="825665" y="68732"/>
                </a:lnTo>
                <a:lnTo>
                  <a:pt x="826668" y="62115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chemeClr val="accent4"/>
              </a:solidFill>
            </a:endParaRPr>
          </a:p>
        </p:txBody>
      </p:sp>
      <p:sp>
        <p:nvSpPr>
          <p:cNvPr id="40" name="object 48"/>
          <p:cNvSpPr/>
          <p:nvPr/>
        </p:nvSpPr>
        <p:spPr>
          <a:xfrm>
            <a:off x="2020316" y="4546599"/>
            <a:ext cx="2259584" cy="1984147"/>
          </a:xfrm>
          <a:custGeom>
            <a:avLst/>
            <a:gdLst/>
            <a:ahLst/>
            <a:cxnLst/>
            <a:rect l="l" t="t" r="r" b="b"/>
            <a:pathLst>
              <a:path w="727075" h="727075">
                <a:moveTo>
                  <a:pt x="85458" y="351764"/>
                </a:moveTo>
                <a:lnTo>
                  <a:pt x="79641" y="345948"/>
                </a:lnTo>
                <a:lnTo>
                  <a:pt x="71869" y="345948"/>
                </a:lnTo>
                <a:lnTo>
                  <a:pt x="54381" y="345948"/>
                </a:lnTo>
                <a:lnTo>
                  <a:pt x="48552" y="351764"/>
                </a:lnTo>
                <a:lnTo>
                  <a:pt x="48552" y="365353"/>
                </a:lnTo>
                <a:lnTo>
                  <a:pt x="54381" y="371208"/>
                </a:lnTo>
                <a:lnTo>
                  <a:pt x="79641" y="371208"/>
                </a:lnTo>
                <a:lnTo>
                  <a:pt x="85458" y="365353"/>
                </a:lnTo>
                <a:lnTo>
                  <a:pt x="85458" y="351764"/>
                </a:lnTo>
                <a:close/>
              </a:path>
              <a:path w="727075" h="727075">
                <a:moveTo>
                  <a:pt x="157340" y="351764"/>
                </a:moveTo>
                <a:lnTo>
                  <a:pt x="153454" y="345948"/>
                </a:lnTo>
                <a:lnTo>
                  <a:pt x="145681" y="345948"/>
                </a:lnTo>
                <a:lnTo>
                  <a:pt x="114604" y="345948"/>
                </a:lnTo>
                <a:lnTo>
                  <a:pt x="108775" y="351764"/>
                </a:lnTo>
                <a:lnTo>
                  <a:pt x="108775" y="365353"/>
                </a:lnTo>
                <a:lnTo>
                  <a:pt x="114604" y="371208"/>
                </a:lnTo>
                <a:lnTo>
                  <a:pt x="153454" y="371208"/>
                </a:lnTo>
                <a:lnTo>
                  <a:pt x="157340" y="365353"/>
                </a:lnTo>
                <a:lnTo>
                  <a:pt x="157340" y="351764"/>
                </a:lnTo>
                <a:close/>
              </a:path>
              <a:path w="727075" h="727075">
                <a:moveTo>
                  <a:pt x="225323" y="312889"/>
                </a:moveTo>
                <a:lnTo>
                  <a:pt x="221437" y="307060"/>
                </a:lnTo>
                <a:lnTo>
                  <a:pt x="209791" y="303174"/>
                </a:lnTo>
                <a:lnTo>
                  <a:pt x="202018" y="307060"/>
                </a:lnTo>
                <a:lnTo>
                  <a:pt x="197523" y="325374"/>
                </a:lnTo>
                <a:lnTo>
                  <a:pt x="195707" y="336461"/>
                </a:lnTo>
                <a:lnTo>
                  <a:pt x="194602" y="347903"/>
                </a:lnTo>
                <a:lnTo>
                  <a:pt x="194246" y="367322"/>
                </a:lnTo>
                <a:lnTo>
                  <a:pt x="196189" y="373151"/>
                </a:lnTo>
                <a:lnTo>
                  <a:pt x="200075" y="378968"/>
                </a:lnTo>
                <a:lnTo>
                  <a:pt x="207848" y="378968"/>
                </a:lnTo>
                <a:lnTo>
                  <a:pt x="213664" y="377024"/>
                </a:lnTo>
                <a:lnTo>
                  <a:pt x="219494" y="371208"/>
                </a:lnTo>
                <a:lnTo>
                  <a:pt x="219494" y="365353"/>
                </a:lnTo>
                <a:lnTo>
                  <a:pt x="219494" y="359537"/>
                </a:lnTo>
                <a:lnTo>
                  <a:pt x="219837" y="349364"/>
                </a:lnTo>
                <a:lnTo>
                  <a:pt x="220713" y="339382"/>
                </a:lnTo>
                <a:lnTo>
                  <a:pt x="221957" y="329755"/>
                </a:lnTo>
                <a:lnTo>
                  <a:pt x="223380" y="320675"/>
                </a:lnTo>
                <a:lnTo>
                  <a:pt x="225323" y="312889"/>
                </a:lnTo>
                <a:close/>
              </a:path>
              <a:path w="727075" h="727075">
                <a:moveTo>
                  <a:pt x="271932" y="478078"/>
                </a:moveTo>
                <a:lnTo>
                  <a:pt x="270002" y="470306"/>
                </a:lnTo>
                <a:lnTo>
                  <a:pt x="266115" y="466432"/>
                </a:lnTo>
                <a:lnTo>
                  <a:pt x="257771" y="457657"/>
                </a:lnTo>
                <a:lnTo>
                  <a:pt x="250329" y="448691"/>
                </a:lnTo>
                <a:lnTo>
                  <a:pt x="243992" y="439369"/>
                </a:lnTo>
                <a:lnTo>
                  <a:pt x="238925" y="429501"/>
                </a:lnTo>
                <a:lnTo>
                  <a:pt x="235038" y="423672"/>
                </a:lnTo>
                <a:lnTo>
                  <a:pt x="227266" y="421728"/>
                </a:lnTo>
                <a:lnTo>
                  <a:pt x="215607" y="429501"/>
                </a:lnTo>
                <a:lnTo>
                  <a:pt x="213664" y="437261"/>
                </a:lnTo>
                <a:lnTo>
                  <a:pt x="217551" y="443115"/>
                </a:lnTo>
                <a:lnTo>
                  <a:pt x="224053" y="454406"/>
                </a:lnTo>
                <a:lnTo>
                  <a:pt x="231635" y="464959"/>
                </a:lnTo>
                <a:lnTo>
                  <a:pt x="239953" y="474802"/>
                </a:lnTo>
                <a:lnTo>
                  <a:pt x="248640" y="483908"/>
                </a:lnTo>
                <a:lnTo>
                  <a:pt x="254457" y="487807"/>
                </a:lnTo>
                <a:lnTo>
                  <a:pt x="262242" y="487807"/>
                </a:lnTo>
                <a:lnTo>
                  <a:pt x="271932" y="478078"/>
                </a:lnTo>
                <a:close/>
              </a:path>
              <a:path w="727075" h="727075">
                <a:moveTo>
                  <a:pt x="299135" y="221538"/>
                </a:moveTo>
                <a:lnTo>
                  <a:pt x="291363" y="209892"/>
                </a:lnTo>
                <a:lnTo>
                  <a:pt x="285546" y="207949"/>
                </a:lnTo>
                <a:lnTo>
                  <a:pt x="279730" y="211836"/>
                </a:lnTo>
                <a:lnTo>
                  <a:pt x="268427" y="218363"/>
                </a:lnTo>
                <a:lnTo>
                  <a:pt x="257860" y="226161"/>
                </a:lnTo>
                <a:lnTo>
                  <a:pt x="248031" y="235064"/>
                </a:lnTo>
                <a:lnTo>
                  <a:pt x="238925" y="244868"/>
                </a:lnTo>
                <a:lnTo>
                  <a:pt x="233095" y="248767"/>
                </a:lnTo>
                <a:lnTo>
                  <a:pt x="235038" y="256540"/>
                </a:lnTo>
                <a:lnTo>
                  <a:pt x="238925" y="262356"/>
                </a:lnTo>
                <a:lnTo>
                  <a:pt x="244754" y="266242"/>
                </a:lnTo>
                <a:lnTo>
                  <a:pt x="252514" y="266242"/>
                </a:lnTo>
                <a:lnTo>
                  <a:pt x="256400" y="260413"/>
                </a:lnTo>
                <a:lnTo>
                  <a:pt x="264045" y="252044"/>
                </a:lnTo>
                <a:lnTo>
                  <a:pt x="272427" y="244386"/>
                </a:lnTo>
                <a:lnTo>
                  <a:pt x="281533" y="237464"/>
                </a:lnTo>
                <a:lnTo>
                  <a:pt x="291363" y="231279"/>
                </a:lnTo>
                <a:lnTo>
                  <a:pt x="297192" y="229336"/>
                </a:lnTo>
                <a:lnTo>
                  <a:pt x="299135" y="221538"/>
                </a:lnTo>
                <a:close/>
              </a:path>
              <a:path w="727075" h="727075">
                <a:moveTo>
                  <a:pt x="378790" y="645223"/>
                </a:moveTo>
                <a:lnTo>
                  <a:pt x="372948" y="639381"/>
                </a:lnTo>
                <a:lnTo>
                  <a:pt x="365188" y="639381"/>
                </a:lnTo>
                <a:lnTo>
                  <a:pt x="359359" y="639381"/>
                </a:lnTo>
                <a:lnTo>
                  <a:pt x="353542" y="645223"/>
                </a:lnTo>
                <a:lnTo>
                  <a:pt x="353542" y="670483"/>
                </a:lnTo>
                <a:lnTo>
                  <a:pt x="359359" y="676313"/>
                </a:lnTo>
                <a:lnTo>
                  <a:pt x="372948" y="676313"/>
                </a:lnTo>
                <a:lnTo>
                  <a:pt x="378790" y="670483"/>
                </a:lnTo>
                <a:lnTo>
                  <a:pt x="378790" y="645223"/>
                </a:lnTo>
                <a:close/>
              </a:path>
              <a:path w="727075" h="727075">
                <a:moveTo>
                  <a:pt x="378790" y="571373"/>
                </a:moveTo>
                <a:lnTo>
                  <a:pt x="372948" y="567486"/>
                </a:lnTo>
                <a:lnTo>
                  <a:pt x="365188" y="567486"/>
                </a:lnTo>
                <a:lnTo>
                  <a:pt x="359359" y="567486"/>
                </a:lnTo>
                <a:lnTo>
                  <a:pt x="353542" y="571373"/>
                </a:lnTo>
                <a:lnTo>
                  <a:pt x="353542" y="610235"/>
                </a:lnTo>
                <a:lnTo>
                  <a:pt x="359359" y="616064"/>
                </a:lnTo>
                <a:lnTo>
                  <a:pt x="372948" y="616064"/>
                </a:lnTo>
                <a:lnTo>
                  <a:pt x="378790" y="610235"/>
                </a:lnTo>
                <a:lnTo>
                  <a:pt x="378790" y="571373"/>
                </a:lnTo>
                <a:close/>
              </a:path>
              <a:path w="727075" h="727075">
                <a:moveTo>
                  <a:pt x="378790" y="106895"/>
                </a:moveTo>
                <a:lnTo>
                  <a:pt x="372948" y="101079"/>
                </a:lnTo>
                <a:lnTo>
                  <a:pt x="359359" y="101079"/>
                </a:lnTo>
                <a:lnTo>
                  <a:pt x="353542" y="106895"/>
                </a:lnTo>
                <a:lnTo>
                  <a:pt x="353542" y="145745"/>
                </a:lnTo>
                <a:lnTo>
                  <a:pt x="359359" y="149656"/>
                </a:lnTo>
                <a:lnTo>
                  <a:pt x="365188" y="149656"/>
                </a:lnTo>
                <a:lnTo>
                  <a:pt x="372948" y="149656"/>
                </a:lnTo>
                <a:lnTo>
                  <a:pt x="378790" y="145745"/>
                </a:lnTo>
                <a:lnTo>
                  <a:pt x="378790" y="106895"/>
                </a:lnTo>
                <a:close/>
              </a:path>
              <a:path w="727075" h="727075">
                <a:moveTo>
                  <a:pt x="378790" y="46634"/>
                </a:moveTo>
                <a:lnTo>
                  <a:pt x="372948" y="40817"/>
                </a:lnTo>
                <a:lnTo>
                  <a:pt x="359359" y="40817"/>
                </a:lnTo>
                <a:lnTo>
                  <a:pt x="353542" y="46634"/>
                </a:lnTo>
                <a:lnTo>
                  <a:pt x="353542" y="71907"/>
                </a:lnTo>
                <a:lnTo>
                  <a:pt x="359359" y="77749"/>
                </a:lnTo>
                <a:lnTo>
                  <a:pt x="365188" y="77749"/>
                </a:lnTo>
                <a:lnTo>
                  <a:pt x="372948" y="77749"/>
                </a:lnTo>
                <a:lnTo>
                  <a:pt x="378790" y="71907"/>
                </a:lnTo>
                <a:lnTo>
                  <a:pt x="378790" y="46634"/>
                </a:lnTo>
                <a:close/>
              </a:path>
              <a:path w="727075" h="727075">
                <a:moveTo>
                  <a:pt x="382676" y="511124"/>
                </a:moveTo>
                <a:lnTo>
                  <a:pt x="376847" y="505294"/>
                </a:lnTo>
                <a:lnTo>
                  <a:pt x="367118" y="505294"/>
                </a:lnTo>
                <a:lnTo>
                  <a:pt x="355815" y="504926"/>
                </a:lnTo>
                <a:lnTo>
                  <a:pt x="345033" y="503834"/>
                </a:lnTo>
                <a:lnTo>
                  <a:pt x="334619" y="502018"/>
                </a:lnTo>
                <a:lnTo>
                  <a:pt x="324383" y="499465"/>
                </a:lnTo>
                <a:lnTo>
                  <a:pt x="318566" y="497522"/>
                </a:lnTo>
                <a:lnTo>
                  <a:pt x="310794" y="501408"/>
                </a:lnTo>
                <a:lnTo>
                  <a:pt x="308864" y="507238"/>
                </a:lnTo>
                <a:lnTo>
                  <a:pt x="306920" y="515010"/>
                </a:lnTo>
                <a:lnTo>
                  <a:pt x="310794" y="520839"/>
                </a:lnTo>
                <a:lnTo>
                  <a:pt x="318566" y="522782"/>
                </a:lnTo>
                <a:lnTo>
                  <a:pt x="330250" y="526453"/>
                </a:lnTo>
                <a:lnTo>
                  <a:pt x="342112" y="528853"/>
                </a:lnTo>
                <a:lnTo>
                  <a:pt x="354342" y="530161"/>
                </a:lnTo>
                <a:lnTo>
                  <a:pt x="367118" y="530555"/>
                </a:lnTo>
                <a:lnTo>
                  <a:pt x="376847" y="530555"/>
                </a:lnTo>
                <a:lnTo>
                  <a:pt x="382676" y="524725"/>
                </a:lnTo>
                <a:lnTo>
                  <a:pt x="382676" y="511124"/>
                </a:lnTo>
                <a:close/>
              </a:path>
              <a:path w="727075" h="727075">
                <a:moveTo>
                  <a:pt x="417626" y="200190"/>
                </a:moveTo>
                <a:lnTo>
                  <a:pt x="376504" y="186931"/>
                </a:lnTo>
                <a:lnTo>
                  <a:pt x="365188" y="186575"/>
                </a:lnTo>
                <a:lnTo>
                  <a:pt x="357416" y="186575"/>
                </a:lnTo>
                <a:lnTo>
                  <a:pt x="353542" y="188506"/>
                </a:lnTo>
                <a:lnTo>
                  <a:pt x="347687" y="188506"/>
                </a:lnTo>
                <a:lnTo>
                  <a:pt x="341871" y="194335"/>
                </a:lnTo>
                <a:lnTo>
                  <a:pt x="343814" y="200190"/>
                </a:lnTo>
                <a:lnTo>
                  <a:pt x="343814" y="207949"/>
                </a:lnTo>
                <a:lnTo>
                  <a:pt x="349631" y="211836"/>
                </a:lnTo>
                <a:lnTo>
                  <a:pt x="355485" y="211836"/>
                </a:lnTo>
                <a:lnTo>
                  <a:pt x="365188" y="211836"/>
                </a:lnTo>
                <a:lnTo>
                  <a:pt x="407924" y="217652"/>
                </a:lnTo>
                <a:lnTo>
                  <a:pt x="413740" y="213779"/>
                </a:lnTo>
                <a:lnTo>
                  <a:pt x="415683" y="206006"/>
                </a:lnTo>
                <a:lnTo>
                  <a:pt x="417626" y="200190"/>
                </a:lnTo>
                <a:close/>
              </a:path>
              <a:path w="727075" h="727075">
                <a:moveTo>
                  <a:pt x="493382" y="466432"/>
                </a:moveTo>
                <a:lnTo>
                  <a:pt x="483679" y="456704"/>
                </a:lnTo>
                <a:lnTo>
                  <a:pt x="475919" y="456704"/>
                </a:lnTo>
                <a:lnTo>
                  <a:pt x="472008" y="460578"/>
                </a:lnTo>
                <a:lnTo>
                  <a:pt x="463245" y="468934"/>
                </a:lnTo>
                <a:lnTo>
                  <a:pt x="454304" y="476377"/>
                </a:lnTo>
                <a:lnTo>
                  <a:pt x="444982" y="482727"/>
                </a:lnTo>
                <a:lnTo>
                  <a:pt x="435114" y="487807"/>
                </a:lnTo>
                <a:lnTo>
                  <a:pt x="429298" y="491693"/>
                </a:lnTo>
                <a:lnTo>
                  <a:pt x="427355" y="499465"/>
                </a:lnTo>
                <a:lnTo>
                  <a:pt x="429298" y="505294"/>
                </a:lnTo>
                <a:lnTo>
                  <a:pt x="433171" y="511124"/>
                </a:lnTo>
                <a:lnTo>
                  <a:pt x="440931" y="513067"/>
                </a:lnTo>
                <a:lnTo>
                  <a:pt x="446760" y="509181"/>
                </a:lnTo>
                <a:lnTo>
                  <a:pt x="458089" y="502958"/>
                </a:lnTo>
                <a:lnTo>
                  <a:pt x="468871" y="495820"/>
                </a:lnTo>
                <a:lnTo>
                  <a:pt x="479272" y="487591"/>
                </a:lnTo>
                <a:lnTo>
                  <a:pt x="489496" y="478078"/>
                </a:lnTo>
                <a:lnTo>
                  <a:pt x="493382" y="474192"/>
                </a:lnTo>
                <a:lnTo>
                  <a:pt x="493382" y="466432"/>
                </a:lnTo>
                <a:close/>
              </a:path>
              <a:path w="727075" h="727075">
                <a:moveTo>
                  <a:pt x="514756" y="274040"/>
                </a:moveTo>
                <a:lnTo>
                  <a:pt x="510870" y="268185"/>
                </a:lnTo>
                <a:lnTo>
                  <a:pt x="504342" y="256895"/>
                </a:lnTo>
                <a:lnTo>
                  <a:pt x="496544" y="246329"/>
                </a:lnTo>
                <a:lnTo>
                  <a:pt x="487654" y="236499"/>
                </a:lnTo>
                <a:lnTo>
                  <a:pt x="477862" y="227393"/>
                </a:lnTo>
                <a:lnTo>
                  <a:pt x="472008" y="223507"/>
                </a:lnTo>
                <a:lnTo>
                  <a:pt x="464248" y="223507"/>
                </a:lnTo>
                <a:lnTo>
                  <a:pt x="456488" y="235153"/>
                </a:lnTo>
                <a:lnTo>
                  <a:pt x="456488" y="242925"/>
                </a:lnTo>
                <a:lnTo>
                  <a:pt x="460362" y="246824"/>
                </a:lnTo>
                <a:lnTo>
                  <a:pt x="469036" y="254469"/>
                </a:lnTo>
                <a:lnTo>
                  <a:pt x="477354" y="262851"/>
                </a:lnTo>
                <a:lnTo>
                  <a:pt x="484949" y="271957"/>
                </a:lnTo>
                <a:lnTo>
                  <a:pt x="495325" y="287629"/>
                </a:lnTo>
                <a:lnTo>
                  <a:pt x="501167" y="287629"/>
                </a:lnTo>
                <a:lnTo>
                  <a:pt x="506984" y="285686"/>
                </a:lnTo>
                <a:lnTo>
                  <a:pt x="512813" y="281800"/>
                </a:lnTo>
                <a:lnTo>
                  <a:pt x="514756" y="274040"/>
                </a:lnTo>
                <a:close/>
              </a:path>
              <a:path w="727075" h="727075">
                <a:moveTo>
                  <a:pt x="538060" y="347878"/>
                </a:moveTo>
                <a:lnTo>
                  <a:pt x="536117" y="342036"/>
                </a:lnTo>
                <a:lnTo>
                  <a:pt x="536117" y="336207"/>
                </a:lnTo>
                <a:lnTo>
                  <a:pt x="530301" y="330390"/>
                </a:lnTo>
                <a:lnTo>
                  <a:pt x="522541" y="332320"/>
                </a:lnTo>
                <a:lnTo>
                  <a:pt x="516686" y="332320"/>
                </a:lnTo>
                <a:lnTo>
                  <a:pt x="510870" y="338150"/>
                </a:lnTo>
                <a:lnTo>
                  <a:pt x="512813" y="345948"/>
                </a:lnTo>
                <a:lnTo>
                  <a:pt x="512813" y="359537"/>
                </a:lnTo>
                <a:lnTo>
                  <a:pt x="506984" y="404228"/>
                </a:lnTo>
                <a:lnTo>
                  <a:pt x="503110" y="410057"/>
                </a:lnTo>
                <a:lnTo>
                  <a:pt x="506984" y="415912"/>
                </a:lnTo>
                <a:lnTo>
                  <a:pt x="514756" y="417855"/>
                </a:lnTo>
                <a:lnTo>
                  <a:pt x="520573" y="419785"/>
                </a:lnTo>
                <a:lnTo>
                  <a:pt x="526415" y="417855"/>
                </a:lnTo>
                <a:lnTo>
                  <a:pt x="537400" y="372618"/>
                </a:lnTo>
                <a:lnTo>
                  <a:pt x="538060" y="359537"/>
                </a:lnTo>
                <a:lnTo>
                  <a:pt x="538060" y="347878"/>
                </a:lnTo>
                <a:close/>
              </a:path>
              <a:path w="727075" h="727075">
                <a:moveTo>
                  <a:pt x="623544" y="351764"/>
                </a:moveTo>
                <a:lnTo>
                  <a:pt x="617728" y="345948"/>
                </a:lnTo>
                <a:lnTo>
                  <a:pt x="578866" y="345948"/>
                </a:lnTo>
                <a:lnTo>
                  <a:pt x="574979" y="351764"/>
                </a:lnTo>
                <a:lnTo>
                  <a:pt x="574979" y="365353"/>
                </a:lnTo>
                <a:lnTo>
                  <a:pt x="578866" y="371208"/>
                </a:lnTo>
                <a:lnTo>
                  <a:pt x="586625" y="371208"/>
                </a:lnTo>
                <a:lnTo>
                  <a:pt x="617728" y="371208"/>
                </a:lnTo>
                <a:lnTo>
                  <a:pt x="623544" y="365353"/>
                </a:lnTo>
                <a:lnTo>
                  <a:pt x="623544" y="351764"/>
                </a:lnTo>
                <a:close/>
              </a:path>
              <a:path w="727075" h="727075">
                <a:moveTo>
                  <a:pt x="683755" y="351764"/>
                </a:moveTo>
                <a:lnTo>
                  <a:pt x="677926" y="345948"/>
                </a:lnTo>
                <a:lnTo>
                  <a:pt x="652678" y="345948"/>
                </a:lnTo>
                <a:lnTo>
                  <a:pt x="646861" y="351764"/>
                </a:lnTo>
                <a:lnTo>
                  <a:pt x="646861" y="365353"/>
                </a:lnTo>
                <a:lnTo>
                  <a:pt x="652678" y="371208"/>
                </a:lnTo>
                <a:lnTo>
                  <a:pt x="660438" y="371208"/>
                </a:lnTo>
                <a:lnTo>
                  <a:pt x="677926" y="371208"/>
                </a:lnTo>
                <a:lnTo>
                  <a:pt x="683755" y="365353"/>
                </a:lnTo>
                <a:lnTo>
                  <a:pt x="683755" y="351764"/>
                </a:lnTo>
                <a:close/>
              </a:path>
              <a:path w="727075" h="727075">
                <a:moveTo>
                  <a:pt x="726541" y="260413"/>
                </a:moveTo>
                <a:lnTo>
                  <a:pt x="709002" y="260413"/>
                </a:lnTo>
                <a:lnTo>
                  <a:pt x="709002" y="285686"/>
                </a:lnTo>
                <a:lnTo>
                  <a:pt x="709002" y="431444"/>
                </a:lnTo>
                <a:lnTo>
                  <a:pt x="561378" y="431444"/>
                </a:lnTo>
                <a:lnTo>
                  <a:pt x="557491" y="439204"/>
                </a:lnTo>
                <a:lnTo>
                  <a:pt x="538276" y="474827"/>
                </a:lnTo>
                <a:lnTo>
                  <a:pt x="513054" y="505536"/>
                </a:lnTo>
                <a:lnTo>
                  <a:pt x="482371" y="530771"/>
                </a:lnTo>
                <a:lnTo>
                  <a:pt x="446760" y="549986"/>
                </a:lnTo>
                <a:lnTo>
                  <a:pt x="439000" y="553872"/>
                </a:lnTo>
                <a:lnTo>
                  <a:pt x="439000" y="701573"/>
                </a:lnTo>
                <a:lnTo>
                  <a:pt x="293306" y="701573"/>
                </a:lnTo>
                <a:lnTo>
                  <a:pt x="293306" y="553872"/>
                </a:lnTo>
                <a:lnTo>
                  <a:pt x="285546" y="549986"/>
                </a:lnTo>
                <a:lnTo>
                  <a:pt x="249936" y="530771"/>
                </a:lnTo>
                <a:lnTo>
                  <a:pt x="219252" y="505536"/>
                </a:lnTo>
                <a:lnTo>
                  <a:pt x="194030" y="474827"/>
                </a:lnTo>
                <a:lnTo>
                  <a:pt x="174815" y="439204"/>
                </a:lnTo>
                <a:lnTo>
                  <a:pt x="170929" y="431444"/>
                </a:lnTo>
                <a:lnTo>
                  <a:pt x="23304" y="431444"/>
                </a:lnTo>
                <a:lnTo>
                  <a:pt x="23304" y="285686"/>
                </a:lnTo>
                <a:lnTo>
                  <a:pt x="170929" y="285686"/>
                </a:lnTo>
                <a:lnTo>
                  <a:pt x="174815" y="277914"/>
                </a:lnTo>
                <a:lnTo>
                  <a:pt x="194030" y="242303"/>
                </a:lnTo>
                <a:lnTo>
                  <a:pt x="219252" y="211594"/>
                </a:lnTo>
                <a:lnTo>
                  <a:pt x="249936" y="186359"/>
                </a:lnTo>
                <a:lnTo>
                  <a:pt x="285546" y="167132"/>
                </a:lnTo>
                <a:lnTo>
                  <a:pt x="293306" y="163245"/>
                </a:lnTo>
                <a:lnTo>
                  <a:pt x="293306" y="15557"/>
                </a:lnTo>
                <a:lnTo>
                  <a:pt x="439000" y="15557"/>
                </a:lnTo>
                <a:lnTo>
                  <a:pt x="439000" y="163245"/>
                </a:lnTo>
                <a:lnTo>
                  <a:pt x="446760" y="167132"/>
                </a:lnTo>
                <a:lnTo>
                  <a:pt x="482371" y="186359"/>
                </a:lnTo>
                <a:lnTo>
                  <a:pt x="513054" y="211594"/>
                </a:lnTo>
                <a:lnTo>
                  <a:pt x="538276" y="242303"/>
                </a:lnTo>
                <a:lnTo>
                  <a:pt x="557491" y="277914"/>
                </a:lnTo>
                <a:lnTo>
                  <a:pt x="561378" y="285686"/>
                </a:lnTo>
                <a:lnTo>
                  <a:pt x="709002" y="285686"/>
                </a:lnTo>
                <a:lnTo>
                  <a:pt x="709002" y="260413"/>
                </a:lnTo>
                <a:lnTo>
                  <a:pt x="576922" y="260413"/>
                </a:lnTo>
                <a:lnTo>
                  <a:pt x="556310" y="225590"/>
                </a:lnTo>
                <a:lnTo>
                  <a:pt x="530059" y="194576"/>
                </a:lnTo>
                <a:lnTo>
                  <a:pt x="499059" y="168313"/>
                </a:lnTo>
                <a:lnTo>
                  <a:pt x="464248" y="147688"/>
                </a:lnTo>
                <a:lnTo>
                  <a:pt x="464248" y="15557"/>
                </a:lnTo>
                <a:lnTo>
                  <a:pt x="464248" y="0"/>
                </a:lnTo>
                <a:lnTo>
                  <a:pt x="268058" y="0"/>
                </a:lnTo>
                <a:lnTo>
                  <a:pt x="268058" y="147688"/>
                </a:lnTo>
                <a:lnTo>
                  <a:pt x="232422" y="168313"/>
                </a:lnTo>
                <a:lnTo>
                  <a:pt x="201523" y="194576"/>
                </a:lnTo>
                <a:lnTo>
                  <a:pt x="175729" y="225590"/>
                </a:lnTo>
                <a:lnTo>
                  <a:pt x="155397" y="260413"/>
                </a:lnTo>
                <a:lnTo>
                  <a:pt x="0" y="260413"/>
                </a:lnTo>
                <a:lnTo>
                  <a:pt x="0" y="456704"/>
                </a:lnTo>
                <a:lnTo>
                  <a:pt x="155397" y="456704"/>
                </a:lnTo>
                <a:lnTo>
                  <a:pt x="175729" y="492353"/>
                </a:lnTo>
                <a:lnTo>
                  <a:pt x="201523" y="523265"/>
                </a:lnTo>
                <a:lnTo>
                  <a:pt x="232422" y="549084"/>
                </a:lnTo>
                <a:lnTo>
                  <a:pt x="268058" y="569429"/>
                </a:lnTo>
                <a:lnTo>
                  <a:pt x="268058" y="726554"/>
                </a:lnTo>
                <a:lnTo>
                  <a:pt x="464248" y="726554"/>
                </a:lnTo>
                <a:lnTo>
                  <a:pt x="464248" y="701573"/>
                </a:lnTo>
                <a:lnTo>
                  <a:pt x="464248" y="569429"/>
                </a:lnTo>
                <a:lnTo>
                  <a:pt x="499059" y="549084"/>
                </a:lnTo>
                <a:lnTo>
                  <a:pt x="530059" y="523265"/>
                </a:lnTo>
                <a:lnTo>
                  <a:pt x="556310" y="492353"/>
                </a:lnTo>
                <a:lnTo>
                  <a:pt x="576922" y="456704"/>
                </a:lnTo>
                <a:lnTo>
                  <a:pt x="726541" y="456704"/>
                </a:lnTo>
                <a:lnTo>
                  <a:pt x="726541" y="260413"/>
                </a:lnTo>
                <a:close/>
              </a:path>
            </a:pathLst>
          </a:custGeom>
          <a:solidFill>
            <a:srgbClr val="EF5A28"/>
          </a:solidFill>
        </p:spPr>
        <p:txBody>
          <a:bodyPr wrap="square" lIns="0" tIns="0" rIns="0" bIns="0" rtlCol="0"/>
          <a:lstStyle/>
          <a:p>
            <a:endParaRPr>
              <a:solidFill>
                <a:srgbClr val="4F9B43"/>
              </a:solidFill>
            </a:endParaRPr>
          </a:p>
        </p:txBody>
      </p:sp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0" y="1244600"/>
          <a:ext cx="9144000" cy="4216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218266" y="535834"/>
            <a:ext cx="6798734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Объем дорожного фонд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на 2020 – 2024 гг.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6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pic>
        <p:nvPicPr>
          <p:cNvPr id="36" name="object 37"/>
          <p:cNvPicPr/>
          <p:nvPr/>
        </p:nvPicPr>
        <p:blipFill>
          <a:blip r:embed="rId4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6108701" y="1456842"/>
            <a:ext cx="2215362" cy="1959458"/>
          </a:xfrm>
          <a:prstGeom prst="rect">
            <a:avLst/>
          </a:prstGeom>
        </p:spPr>
      </p:pic>
      <p:pic>
        <p:nvPicPr>
          <p:cNvPr id="37" name="object 38"/>
          <p:cNvPicPr/>
          <p:nvPr/>
        </p:nvPicPr>
        <p:blipFill>
          <a:blip r:embed="rId5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3479799" y="1165885"/>
            <a:ext cx="1913737" cy="1539215"/>
          </a:xfrm>
          <a:prstGeom prst="rect">
            <a:avLst/>
          </a:prstGeom>
        </p:spPr>
      </p:pic>
      <p:pic>
        <p:nvPicPr>
          <p:cNvPr id="39" name="object 42"/>
          <p:cNvPicPr/>
          <p:nvPr/>
        </p:nvPicPr>
        <p:blipFill>
          <a:blip r:embed="rId6" cstate="print">
            <a:duotone>
              <a:prstClr val="black"/>
              <a:schemeClr val="accent6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759832" y="4229100"/>
            <a:ext cx="2275967" cy="2144115"/>
          </a:xfrm>
          <a:prstGeom prst="rect">
            <a:avLst/>
          </a:prstGeom>
        </p:spPr>
      </p:pic>
      <p:pic>
        <p:nvPicPr>
          <p:cNvPr id="41" name="object 11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AsOne/>
      </p:bldGraphic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 descr="C:\Users\ZhSuNA\Pictures\i (2).jpg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-2" y="1231901"/>
            <a:ext cx="9144002" cy="49276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201333" y="485034"/>
            <a:ext cx="679873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 на 2022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7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 rot="16200000" flipH="1">
            <a:off x="5236633" y="3704166"/>
            <a:ext cx="482604" cy="44026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/>
          <p:cNvCxnSpPr/>
          <p:nvPr/>
        </p:nvCxnSpPr>
        <p:spPr>
          <a:xfrm rot="10800000" flipV="1">
            <a:off x="2396067" y="3505198"/>
            <a:ext cx="889000" cy="711201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358462" y="1433737"/>
            <a:ext cx="2003737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2"/>
            </p:custDataLst>
          </p:nvPr>
        </p:nvSpPr>
        <p:spPr>
          <a:xfrm>
            <a:off x="409262" y="1404143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3"/>
            </p:custDataLst>
          </p:nvPr>
        </p:nvSpPr>
        <p:spPr>
          <a:xfrm>
            <a:off x="527878" y="1963275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3338793" y="2497667"/>
            <a:ext cx="2857520" cy="1095978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>
            <p:custDataLst>
              <p:tags r:id="rId5"/>
            </p:custDataLst>
          </p:nvPr>
        </p:nvSpPr>
        <p:spPr>
          <a:xfrm>
            <a:off x="2912534" y="2585498"/>
            <a:ext cx="3767666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 бюджета города</a:t>
            </a:r>
            <a:endParaRPr lang="ru-RU" sz="1400" b="1" dirty="0"/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3933049" y="2945336"/>
            <a:ext cx="1683378" cy="331264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29959" y="4326296"/>
            <a:ext cx="2160240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435235" y="4259799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72611" y="4886568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0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18" name="Группа 8"/>
          <p:cNvGrpSpPr/>
          <p:nvPr/>
        </p:nvGrpSpPr>
        <p:grpSpPr>
          <a:xfrm>
            <a:off x="3827175" y="1391402"/>
            <a:ext cx="1897635" cy="648072"/>
            <a:chOff x="3280593" y="1837348"/>
            <a:chExt cx="2577739" cy="1392963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19" name="Скругленный прямоугольник 18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0" name="Скругленный прямоугольник 19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20,4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1" name="Прямая соединительная линия 20"/>
          <p:cNvCxnSpPr/>
          <p:nvPr/>
        </p:nvCxnSpPr>
        <p:spPr>
          <a:xfrm flipV="1">
            <a:off x="2540000" y="1769533"/>
            <a:ext cx="1176867" cy="17780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4831012" y="2196150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Скругленный прямоугольник 25"/>
          <p:cNvSpPr/>
          <p:nvPr>
            <p:custDataLst>
              <p:tags r:id="rId7"/>
            </p:custDataLst>
          </p:nvPr>
        </p:nvSpPr>
        <p:spPr>
          <a:xfrm>
            <a:off x="4677561" y="4256183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кругленный прямоугольник 26"/>
          <p:cNvSpPr/>
          <p:nvPr>
            <p:custDataLst>
              <p:tags r:id="rId8"/>
            </p:custDataLst>
          </p:nvPr>
        </p:nvSpPr>
        <p:spPr>
          <a:xfrm>
            <a:off x="4833745" y="4921321"/>
            <a:ext cx="1683378" cy="27740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9"/>
            </p:custDataLst>
          </p:nvPr>
        </p:nvSpPr>
        <p:spPr>
          <a:xfrm>
            <a:off x="4628656" y="4164682"/>
            <a:ext cx="206600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содержание светофоров и дорожных знаков</a:t>
            </a:r>
            <a:endParaRPr lang="ru-RU" sz="1400" b="1" dirty="0"/>
          </a:p>
        </p:txBody>
      </p:sp>
      <p:sp>
        <p:nvSpPr>
          <p:cNvPr id="31" name="Скругленный прямоугольник 30"/>
          <p:cNvSpPr/>
          <p:nvPr>
            <p:custDataLst>
              <p:tags r:id="rId10"/>
            </p:custDataLst>
          </p:nvPr>
        </p:nvSpPr>
        <p:spPr>
          <a:xfrm>
            <a:off x="2404153" y="4284324"/>
            <a:ext cx="2020177" cy="1038003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>
            <p:custDataLst>
              <p:tags r:id="rId11"/>
            </p:custDataLst>
          </p:nvPr>
        </p:nvSpPr>
        <p:spPr>
          <a:xfrm>
            <a:off x="2496620" y="4148659"/>
            <a:ext cx="1910993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дорожная разметка с применением термопластика</a:t>
            </a:r>
            <a:endParaRPr lang="ru-RU" sz="1400" b="1" dirty="0"/>
          </a:p>
        </p:txBody>
      </p:sp>
      <p:sp>
        <p:nvSpPr>
          <p:cNvPr id="36" name="Скругленный прямоугольник 35"/>
          <p:cNvSpPr/>
          <p:nvPr>
            <p:custDataLst>
              <p:tags r:id="rId12"/>
            </p:custDataLst>
          </p:nvPr>
        </p:nvSpPr>
        <p:spPr>
          <a:xfrm>
            <a:off x="2530974" y="4861828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 rot="5400000">
            <a:off x="3640670" y="3767668"/>
            <a:ext cx="457198" cy="3894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Скругленный прямоугольник 37"/>
          <p:cNvSpPr/>
          <p:nvPr>
            <p:custDataLst>
              <p:tags r:id="rId13"/>
            </p:custDataLst>
          </p:nvPr>
        </p:nvSpPr>
        <p:spPr>
          <a:xfrm>
            <a:off x="6949322" y="4259799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Прямоугольник 38"/>
          <p:cNvSpPr/>
          <p:nvPr>
            <p:custDataLst>
              <p:tags r:id="rId14"/>
            </p:custDataLst>
          </p:nvPr>
        </p:nvSpPr>
        <p:spPr>
          <a:xfrm>
            <a:off x="6948264" y="4292456"/>
            <a:ext cx="2195736" cy="5436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текущий ремонт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г</a:t>
            </a:r>
            <a:endParaRPr lang="ru-RU" sz="1400" b="1" dirty="0"/>
          </a:p>
        </p:txBody>
      </p:sp>
      <p:sp>
        <p:nvSpPr>
          <p:cNvPr id="40" name="Скругленный прямоугольник 39"/>
          <p:cNvSpPr/>
          <p:nvPr>
            <p:custDataLst>
              <p:tags r:id="rId15"/>
            </p:custDataLst>
          </p:nvPr>
        </p:nvSpPr>
        <p:spPr>
          <a:xfrm>
            <a:off x="7014190" y="4908068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,0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>
            <a:off x="6307667" y="3505203"/>
            <a:ext cx="914399" cy="70273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object 11"/>
          <p:cNvPicPr/>
          <p:nvPr/>
        </p:nvPicPr>
        <p:blipFill>
          <a:blip r:embed="rId20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18267" y="501968"/>
            <a:ext cx="6807200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Муниципальный внутренний долг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8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4" name="Диаграмма 3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0" y="673100"/>
          <a:ext cx="9144000" cy="5181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5" name="object 11"/>
          <p:cNvPicPr/>
          <p:nvPr/>
        </p:nvPicPr>
        <p:blipFill>
          <a:blip r:embed="rId4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  <p:pic>
        <p:nvPicPr>
          <p:cNvPr id="8197" name="Picture 5" descr="C:\Users\ZhSuNA\Pictures\klipartz.com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90750" y="4121150"/>
            <a:ext cx="4227957" cy="25717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01334" y="457200"/>
            <a:ext cx="6815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 smtClean="0">
                <a:latin typeface="Arial Black" pitchFamily="34" charset="0"/>
              </a:rPr>
              <a:t>Основные параметры бюджета города-курорта Железноводска на 2020-2024 г.г.</a:t>
            </a:r>
            <a:endParaRPr 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1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27001" y="1176864"/>
          <a:ext cx="8898464" cy="422348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0428"/>
                <a:gridCol w="996593"/>
                <a:gridCol w="1417834"/>
                <a:gridCol w="1389609"/>
                <a:gridCol w="1171310"/>
                <a:gridCol w="1276205"/>
                <a:gridCol w="996485"/>
              </a:tblGrid>
              <a:tr h="640576">
                <a:tc>
                  <a:txBody>
                    <a:bodyPr/>
                    <a:lstStyle/>
                    <a:p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0 год</a:t>
                      </a:r>
                      <a:r>
                        <a:rPr lang="ru-RU" sz="1100" baseline="0" dirty="0" smtClean="0">
                          <a:latin typeface="Arial Black" pitchFamily="34" charset="0"/>
                        </a:rPr>
                        <a:t> (отчет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1 год (первоначальный план)</a:t>
                      </a:r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1 год</a:t>
                      </a:r>
                    </a:p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(оценка)</a:t>
                      </a:r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2 год (проект)</a:t>
                      </a:r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3 год (проект)</a:t>
                      </a:r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latin typeface="Arial Black" pitchFamily="34" charset="0"/>
                        </a:rPr>
                        <a:t>2024 год (проект)</a:t>
                      </a:r>
                      <a:endParaRPr lang="ru-RU" sz="1100" dirty="0"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540195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Доходы, из них: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 905,9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 773,4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 807,9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 956,9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2 067,6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 871,3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498581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Налоговые и неналоговые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90,6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46,7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476,7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90,7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90,4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400,3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85628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Дотация на выравнивание бюджетной обеспеченности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62,8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01,1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05,6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307,2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248,0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224,2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329129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Расходы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1 842,3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1 773,4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1 866,2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1 956,9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2 055,5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1 871,3</a:t>
                      </a:r>
                      <a:endParaRPr lang="ru-RU" sz="11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502438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Дефицит 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“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–</a:t>
                      </a:r>
                      <a:r>
                        <a:rPr lang="en-US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”</a:t>
                      </a:r>
                      <a:endParaRPr lang="ru-RU" sz="1200" dirty="0" smtClean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  <a:p>
                      <a:r>
                        <a:rPr lang="ru-RU" sz="1200" dirty="0" err="1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Профицит</a:t>
                      </a:r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“</a:t>
                      </a:r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+</a:t>
                      </a:r>
                      <a:r>
                        <a:rPr lang="en-US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”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63,6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Arial Black" pitchFamily="34" charset="0"/>
                        </a:rPr>
                        <a:t>- 58,3</a:t>
                      </a:r>
                      <a:endParaRPr lang="ru-RU" sz="1200" dirty="0">
                        <a:solidFill>
                          <a:srgbClr val="C00000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4F9B43"/>
                          </a:solidFill>
                          <a:latin typeface="Arial Black" pitchFamily="34" charset="0"/>
                        </a:rPr>
                        <a:t>12,1</a:t>
                      </a:r>
                      <a:endParaRPr lang="ru-RU" sz="1200" dirty="0">
                        <a:solidFill>
                          <a:srgbClr val="4F9B43"/>
                        </a:solidFill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</a:tr>
              <a:tr h="856283"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Arial Black" pitchFamily="34" charset="0"/>
                        </a:rPr>
                        <a:t>Муниципальный долг на конец отчетного периода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8,3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12,1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12,1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Arial Black" pitchFamily="34" charset="0"/>
                        </a:rPr>
                        <a:t>0,0</a:t>
                      </a:r>
                      <a:endParaRPr lang="ru-RU" sz="1200" dirty="0">
                        <a:latin typeface="Arial Black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051" name="Picture 3" descr="C:\Users\ZhSuNA\Pictures\image002.pn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334998" y="4733925"/>
            <a:ext cx="5029200" cy="2124075"/>
          </a:xfrm>
          <a:prstGeom prst="rect">
            <a:avLst/>
          </a:prstGeom>
          <a:noFill/>
        </p:spPr>
      </p:pic>
      <p:pic>
        <p:nvPicPr>
          <p:cNvPr id="8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82133" y="2260599"/>
            <a:ext cx="722206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6000" b="1" i="1" dirty="0" smtClean="0">
                <a:latin typeface="Times New Roman" pitchFamily="18" charset="0"/>
                <a:cs typeface="Times New Roman" pitchFamily="18" charset="0"/>
              </a:rPr>
              <a:t>СПАСИБО </a:t>
            </a:r>
          </a:p>
          <a:p>
            <a:pPr algn="ctr"/>
            <a:r>
              <a:rPr lang="ru-RU" sz="6000" b="1" i="1" dirty="0" smtClean="0">
                <a:latin typeface="Times New Roman" pitchFamily="18" charset="0"/>
                <a:cs typeface="Times New Roman" pitchFamily="18" charset="0"/>
              </a:rPr>
              <a:t>ЗА</a:t>
            </a:r>
          </a:p>
          <a:p>
            <a:pPr algn="ctr"/>
            <a:r>
              <a:rPr lang="ru-RU" sz="6000" b="1" i="1" dirty="0" smtClean="0">
                <a:latin typeface="Times New Roman" pitchFamily="18" charset="0"/>
                <a:cs typeface="Times New Roman" pitchFamily="18" charset="0"/>
              </a:rPr>
              <a:t>ВНИМАНИЕ!</a:t>
            </a:r>
            <a:endParaRPr lang="ru-RU" sz="6000" b="1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18267" y="461319"/>
            <a:ext cx="679873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 smtClean="0">
                <a:latin typeface="Arial Black" pitchFamily="34" charset="0"/>
              </a:rPr>
              <a:t>Динамика поступлений доходов бюджета </a:t>
            </a:r>
            <a:br>
              <a:rPr lang="ru-RU" sz="1500" b="1" dirty="0" smtClean="0">
                <a:latin typeface="Arial Black" pitchFamily="34" charset="0"/>
              </a:rPr>
            </a:br>
            <a:r>
              <a:rPr lang="ru-RU" sz="1500" b="1" dirty="0" smtClean="0">
                <a:latin typeface="Arial Black" pitchFamily="34" charset="0"/>
              </a:rPr>
              <a:t>города-курорта Железноводска Ставропольского края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2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6" name="Диаграмма 5"/>
          <p:cNvGraphicFramePr/>
          <p:nvPr/>
        </p:nvGraphicFramePr>
        <p:xfrm>
          <a:off x="-253999" y="1219200"/>
          <a:ext cx="8474074" cy="54525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7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  <p:pic>
        <p:nvPicPr>
          <p:cNvPr id="5123" name="Picture 3" descr="C:\Users\ZhSuNA\Pictures\vwgObQBvzbc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610476" y="1276350"/>
            <a:ext cx="1314450" cy="1314450"/>
          </a:xfrm>
          <a:prstGeom prst="rect">
            <a:avLst/>
          </a:prstGeom>
          <a:noFill/>
          <a:ln w="127000" cmpd="sng">
            <a:solidFill>
              <a:srgbClr val="FFC000"/>
            </a:solidFill>
          </a:ln>
        </p:spPr>
      </p:pic>
      <p:pic>
        <p:nvPicPr>
          <p:cNvPr id="5124" name="Picture 4" descr="C:\Users\ZhSuNA\Pictures\6710fff2-4391-4b44-8e06-70177f54ea85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638094" y="2934630"/>
            <a:ext cx="1315406" cy="1265896"/>
          </a:xfrm>
          <a:prstGeom prst="rect">
            <a:avLst/>
          </a:prstGeom>
          <a:noFill/>
          <a:ln w="127000">
            <a:solidFill>
              <a:srgbClr val="FFC000"/>
            </a:solidFill>
          </a:ln>
        </p:spPr>
      </p:pic>
      <p:pic>
        <p:nvPicPr>
          <p:cNvPr id="5125" name="Picture 5" descr="C:\Users\ZhSuNA\Pictures\df5ecdc60bd7a08064f92772d9bdd194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639050" y="4663441"/>
            <a:ext cx="1333500" cy="1333500"/>
          </a:xfrm>
          <a:prstGeom prst="rect">
            <a:avLst/>
          </a:prstGeom>
          <a:noFill/>
          <a:ln w="127000">
            <a:solidFill>
              <a:srgbClr val="4F9B43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18267" y="440267"/>
            <a:ext cx="68156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 smtClean="0">
                <a:latin typeface="Arial Black" pitchFamily="34" charset="0"/>
              </a:rPr>
              <a:t>Динамика поступлений налоговых и неналоговых доходов </a:t>
            </a:r>
          </a:p>
          <a:p>
            <a:pPr algn="ctr"/>
            <a:r>
              <a:rPr lang="ru-RU" sz="1500" b="1" dirty="0" smtClean="0">
                <a:latin typeface="Arial Black" pitchFamily="34" charset="0"/>
              </a:rPr>
              <a:t>бюджета города-курорта Железноводска на 2020-2024гг.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3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43837" y="1202267"/>
          <a:ext cx="8873165" cy="52484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66571"/>
                <a:gridCol w="1068618"/>
                <a:gridCol w="1267595"/>
                <a:gridCol w="1267595"/>
                <a:gridCol w="633798"/>
                <a:gridCol w="633798"/>
                <a:gridCol w="1267595"/>
                <a:gridCol w="1267595"/>
              </a:tblGrid>
              <a:tr h="583257"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Источники доходов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0 год (отчет)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1 год (оценка)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2 год (прогноз)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Отклонение к оценке 2021 года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3 год (прогноз)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2024 год (прогноз)</a:t>
                      </a:r>
                      <a:endParaRPr lang="ru-RU" sz="1100" b="1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</a:tr>
              <a:tr h="2392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 сумма</a:t>
                      </a:r>
                      <a:endParaRPr lang="ru-RU" sz="1000" b="1" baseline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baseline="0" dirty="0" smtClean="0">
                          <a:solidFill>
                            <a:schemeClr val="tx1"/>
                          </a:solidFill>
                          <a:latin typeface="Arial" pitchFamily="34" charset="0"/>
                          <a:cs typeface="Arial" pitchFamily="34" charset="0"/>
                        </a:rPr>
                        <a:t>%</a:t>
                      </a:r>
                      <a:endParaRPr lang="ru-RU" sz="1000" b="1" baseline="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17855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Arial" pitchFamily="34" charset="0"/>
                          <a:cs typeface="Aharoni" pitchFamily="2" charset="-79"/>
                        </a:rPr>
                        <a:t>Собственные доходы (всего)</a:t>
                      </a:r>
                      <a:endParaRPr lang="ru-RU" sz="1400" b="1" dirty="0">
                        <a:latin typeface="Arial" pitchFamily="34" charset="0"/>
                        <a:cs typeface="Aharoni" pitchFamily="2" charset="-79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390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476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390,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-86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8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390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baseline="0" dirty="0">
                          <a:latin typeface="Arial" pitchFamily="34" charset="0"/>
                          <a:cs typeface="Aharoni" pitchFamily="2" charset="-79"/>
                        </a:rPr>
                        <a:t>400,3</a:t>
                      </a:r>
                    </a:p>
                  </a:txBody>
                  <a:tcPr marL="9525" marR="9525" marT="9525" marB="0" anchor="ctr"/>
                </a:tc>
              </a:tr>
              <a:tr h="441063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Налоговые доходы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334,3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411,6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329,8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-81,8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80,1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338,0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348,0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</a:tr>
              <a:tr h="426875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Налог на доходы физических лиц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86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69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65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-3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98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69,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75,7</a:t>
                      </a:r>
                    </a:p>
                  </a:txBody>
                  <a:tcPr marL="9525" marR="9525" marT="9525" marB="0" anchor="ctr"/>
                </a:tc>
              </a:tr>
              <a:tr h="263872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Акцизы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5,9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6,9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7,3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0,4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 pitchFamily="34" charset="0"/>
                          <a:cs typeface="Arial" pitchFamily="34" charset="0"/>
                        </a:rPr>
                        <a:t>105,8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7,2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7,1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</a:tr>
              <a:tr h="583257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Налоги на совокупный</a:t>
                      </a:r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 доход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 smtClean="0">
                          <a:latin typeface="Arial" pitchFamily="34" charset="0"/>
                          <a:cs typeface="Arial" pitchFamily="34" charset="0"/>
                        </a:rPr>
                        <a:t>14,7</a:t>
                      </a:r>
                      <a:endParaRPr lang="ru-RU" sz="1100" b="1" i="0" u="none" strike="noStrike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 smtClean="0">
                          <a:latin typeface="Arial" pitchFamily="34" charset="0"/>
                          <a:cs typeface="Arial" pitchFamily="34" charset="0"/>
                        </a:rPr>
                        <a:t>38,3</a:t>
                      </a:r>
                      <a:endParaRPr lang="ru-RU" sz="1100" b="1" i="0" u="none" strike="noStrike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 smtClean="0">
                          <a:latin typeface="Arial" pitchFamily="34" charset="0"/>
                          <a:cs typeface="Arial" pitchFamily="34" charset="0"/>
                        </a:rPr>
                        <a:t>37,1</a:t>
                      </a:r>
                      <a:endParaRPr lang="ru-RU" sz="1100" b="1" i="0" u="none" strike="noStrike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-1,2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97,0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 smtClean="0">
                          <a:latin typeface="Arial" pitchFamily="34" charset="0"/>
                          <a:cs typeface="Arial" pitchFamily="34" charset="0"/>
                        </a:rPr>
                        <a:t>37,5</a:t>
                      </a:r>
                      <a:endParaRPr lang="ru-RU" sz="1100" b="1" i="0" u="none" strike="noStrike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 smtClean="0">
                          <a:latin typeface="Arial" pitchFamily="34" charset="0"/>
                          <a:cs typeface="Arial" pitchFamily="34" charset="0"/>
                        </a:rPr>
                        <a:t>38,1</a:t>
                      </a:r>
                      <a:endParaRPr lang="ru-RU" sz="1100" b="1" i="0" u="none" strike="noStrike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  <a:tr h="583257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Налог на имущество физических лиц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29,6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41,6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7,9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23,7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42,6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43,1</a:t>
                      </a:r>
                    </a:p>
                  </a:txBody>
                  <a:tcPr marL="9525" marR="9525" marT="9525" marB="0" anchor="ctr">
                    <a:solidFill>
                      <a:srgbClr val="92D050"/>
                    </a:solidFill>
                  </a:tcPr>
                </a:tc>
              </a:tr>
              <a:tr h="336977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Земельный налог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 pitchFamily="34" charset="0"/>
                          <a:cs typeface="Arial" pitchFamily="34" charset="0"/>
                        </a:rPr>
                        <a:t>88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164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69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 pitchFamily="34" charset="0"/>
                          <a:cs typeface="Arial" pitchFamily="34" charset="0"/>
                        </a:rPr>
                        <a:t>-95,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 pitchFamily="34" charset="0"/>
                          <a:cs typeface="Arial" pitchFamily="34" charset="0"/>
                        </a:rPr>
                        <a:t>42,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71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 pitchFamily="34" charset="0"/>
                          <a:cs typeface="Arial" pitchFamily="34" charset="0"/>
                        </a:rPr>
                        <a:t>74,7</a:t>
                      </a:r>
                    </a:p>
                  </a:txBody>
                  <a:tcPr marL="9525" marR="9525" marT="9525" marB="0" anchor="ctr"/>
                </a:tc>
              </a:tr>
              <a:tr h="583257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Прочие неналоговые доходы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9,5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8,8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8,6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-0,2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98,0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9,0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baseline="0" dirty="0" smtClean="0"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ctr"/>
                      <a:r>
                        <a:rPr lang="ru-RU" sz="1100" b="1" baseline="0" dirty="0" smtClean="0">
                          <a:latin typeface="Arial" pitchFamily="34" charset="0"/>
                          <a:cs typeface="Arial" pitchFamily="34" charset="0"/>
                        </a:rPr>
                        <a:t>9,3</a:t>
                      </a:r>
                      <a:endParaRPr lang="ru-RU" sz="1100" b="1" baseline="0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426875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latin typeface="Arial" pitchFamily="34" charset="0"/>
                          <a:cs typeface="Arial" pitchFamily="34" charset="0"/>
                        </a:rPr>
                        <a:t>Неналоговые доходы</a:t>
                      </a:r>
                      <a:endParaRPr lang="ru-RU" sz="1100" b="1" dirty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56,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65,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60,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-4,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93,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>
                          <a:latin typeface="Arial"/>
                        </a:rPr>
                        <a:t>52,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baseline="0" dirty="0">
                          <a:latin typeface="Arial"/>
                        </a:rPr>
                        <a:t>52,3</a:t>
                      </a: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pic>
        <p:nvPicPr>
          <p:cNvPr id="6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198670" y="509991"/>
            <a:ext cx="67923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Структура безвозмездных поступлений в бюджет </a:t>
            </a:r>
            <a:b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</a:br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города-курорта Железноводска Ставропольского края</a:t>
            </a:r>
            <a:endParaRPr lang="ru-RU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4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-1" y="1284269"/>
          <a:ext cx="10048875" cy="49007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object 11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5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218267" y="516467"/>
            <a:ext cx="6798733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  <a:cs typeface="Times New Roman" pitchFamily="18" charset="0"/>
              </a:rPr>
              <a:t>Иные межбюджетные трансферты за счет курортного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  <a:cs typeface="Times New Roman" pitchFamily="18" charset="0"/>
              </a:rPr>
              <a:t>сбора города-курорта Железноводска</a:t>
            </a:r>
            <a:endParaRPr lang="ru-RU" altLang="ru-RU" sz="1500" b="1" dirty="0">
              <a:latin typeface="Arial Black" pitchFamily="34" charset="0"/>
              <a:cs typeface="Times New Roman" pitchFamily="18" charset="0"/>
            </a:endParaRPr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0" y="1786555"/>
            <a:ext cx="2160588" cy="936104"/>
          </a:xfrm>
          <a:prstGeom prst="can">
            <a:avLst>
              <a:gd name="adj" fmla="val 39619"/>
            </a:avLst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solidFill>
                  <a:schemeClr val="bg1"/>
                </a:solidFill>
              </a:rPr>
              <a:t>52,9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04770" y="1415534"/>
            <a:ext cx="174660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92D050"/>
                </a:solidFill>
              </a:rPr>
              <a:t>2020 год (факт)</a:t>
            </a:r>
            <a:endParaRPr lang="ru-RU" dirty="0">
              <a:solidFill>
                <a:srgbClr val="92D050"/>
              </a:solidFill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3844630" y="5384351"/>
            <a:ext cx="2160588" cy="936104"/>
          </a:xfrm>
          <a:prstGeom prst="can">
            <a:avLst>
              <a:gd name="adj" fmla="val 40065"/>
            </a:avLst>
          </a:prstGeom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solidFill>
                  <a:schemeClr val="bg1"/>
                </a:solidFill>
              </a:rPr>
              <a:t>30,5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6618982" y="2447675"/>
            <a:ext cx="2160588" cy="1008112"/>
          </a:xfrm>
          <a:prstGeom prst="can">
            <a:avLst>
              <a:gd name="adj" fmla="val 40922"/>
            </a:avLst>
          </a:prstGeom>
          <a:ln>
            <a:headEnd/>
            <a:tailEnd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solidFill>
                  <a:schemeClr val="bg1"/>
                </a:solidFill>
              </a:rPr>
              <a:t>46,1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75528" y="5023633"/>
            <a:ext cx="210620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D04A00"/>
                </a:solidFill>
              </a:rPr>
              <a:t> 2021 год (факт)</a:t>
            </a:r>
            <a:endParaRPr lang="ru-RU" dirty="0">
              <a:solidFill>
                <a:srgbClr val="D04A00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669782" y="1962078"/>
            <a:ext cx="2034284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2022 год (проект)</a:t>
            </a:r>
          </a:p>
          <a:p>
            <a:pPr>
              <a:spcBef>
                <a:spcPct val="50000"/>
              </a:spcBef>
            </a:pP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15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27971" y="643149"/>
            <a:ext cx="447409" cy="466460"/>
          </a:xfrm>
          <a:prstGeom prst="rect">
            <a:avLst/>
          </a:prstGeom>
          <a:solidFill>
            <a:srgbClr val="4F9B43"/>
          </a:solidFill>
        </p:spPr>
      </p:pic>
      <p:sp>
        <p:nvSpPr>
          <p:cNvPr id="19458" name="AutoShape 2" descr="https://img.stapravda.ru/!/17/e5/d8/cb/70/93/6b/e3/86/72/d0/c8/83/01/90/p140152-1633338166-320x26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9460" name="AutoShape 4" descr="https://img.stapravda.ru/!/17/e5/d8/cb/70/93/6b/e3/86/72/d0/c8/83/01/90/p140152-1633338166-320x267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9462" name="Picture 6" descr="C:\Users\ZhSuNA\Pictures\37f4bf56a01e2d1b103114a6c16a2276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35700" y="3975099"/>
            <a:ext cx="2908300" cy="2322513"/>
          </a:xfrm>
          <a:prstGeom prst="rect">
            <a:avLst/>
          </a:prstGeom>
          <a:noFill/>
          <a:ln w="63500">
            <a:solidFill>
              <a:srgbClr val="4F9B43"/>
            </a:solidFill>
          </a:ln>
        </p:spPr>
      </p:pic>
      <p:pic>
        <p:nvPicPr>
          <p:cNvPr id="19461" name="Picture 5" descr="C:\Users\ZhSuNA\Pictures\Безымянный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09800" y="1291457"/>
            <a:ext cx="3949700" cy="3288763"/>
          </a:xfrm>
          <a:prstGeom prst="rect">
            <a:avLst/>
          </a:prstGeom>
          <a:noFill/>
          <a:ln w="63500">
            <a:solidFill>
              <a:srgbClr val="4F9B43"/>
            </a:solidFill>
          </a:ln>
        </p:spPr>
      </p:pic>
      <p:pic>
        <p:nvPicPr>
          <p:cNvPr id="19463" name="Picture 7" descr="C:\Users\ZhSuNA\Pictures\Tdtrkqt6CCdIsaNb06z1n96Rf7D1mG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037690" y="4794306"/>
            <a:ext cx="3113070" cy="16732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ZhSuNA\Pictures\вава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1104900"/>
            <a:ext cx="9144000" cy="38481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2235200" y="527369"/>
            <a:ext cx="6781800" cy="466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Расходы бюджета 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города-курорта Железноводска в 2019-2024 гг.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6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" name="Диаграмма 4"/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3017909176"/>
              </p:ext>
            </p:extLst>
          </p:nvPr>
        </p:nvGraphicFramePr>
        <p:xfrm>
          <a:off x="251520" y="1276057"/>
          <a:ext cx="8892480" cy="4757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" name="object 11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18267" y="609600"/>
            <a:ext cx="67987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Расходы по отдельным направлениям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7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16541" y="1264024"/>
            <a:ext cx="1532965" cy="670996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 234,1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63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2071111" y="1290918"/>
            <a:ext cx="1581896" cy="654973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>
              <a:lnSpc>
                <a:spcPts val="1900"/>
              </a:lnSpc>
            </a:pPr>
            <a:r>
              <a:rPr lang="ru-RU" b="1" dirty="0" smtClean="0">
                <a:solidFill>
                  <a:schemeClr val="tx1"/>
                </a:solidFill>
              </a:rPr>
              <a:t>1 956,9</a:t>
            </a:r>
          </a:p>
        </p:txBody>
      </p:sp>
      <p:grpSp>
        <p:nvGrpSpPr>
          <p:cNvPr id="4" name="Группа 33"/>
          <p:cNvGrpSpPr/>
          <p:nvPr/>
        </p:nvGrpSpPr>
        <p:grpSpPr>
          <a:xfrm>
            <a:off x="323819" y="1494330"/>
            <a:ext cx="2988840" cy="2889777"/>
            <a:chOff x="4327525" y="1006475"/>
            <a:chExt cx="5683932" cy="5676900"/>
          </a:xfrm>
          <a:scene3d>
            <a:camera prst="isometricTopUp">
              <a:rot lat="18036561" lon="151961" rev="14157"/>
            </a:camera>
            <a:lightRig rig="flood" dir="t">
              <a:rot lat="0" lon="0" rev="0"/>
            </a:lightRig>
          </a:scene3d>
        </p:grpSpPr>
        <p:sp>
          <p:nvSpPr>
            <p:cNvPr id="8" name="Freeform 8"/>
            <p:cNvSpPr>
              <a:spLocks/>
            </p:cNvSpPr>
            <p:nvPr/>
          </p:nvSpPr>
          <p:spPr bwMode="auto">
            <a:xfrm>
              <a:off x="4327525" y="1006475"/>
              <a:ext cx="5497513" cy="5676900"/>
            </a:xfrm>
            <a:custGeom>
              <a:avLst/>
              <a:gdLst/>
              <a:ahLst/>
              <a:cxnLst>
                <a:cxn ang="0">
                  <a:pos x="895" y="0"/>
                </a:cxn>
                <a:cxn ang="0">
                  <a:pos x="1341" y="117"/>
                </a:cxn>
                <a:cxn ang="0">
                  <a:pos x="1619" y="363"/>
                </a:cxn>
                <a:cxn ang="0">
                  <a:pos x="1727" y="553"/>
                </a:cxn>
                <a:cxn ang="0">
                  <a:pos x="1723" y="563"/>
                </a:cxn>
                <a:cxn ang="0">
                  <a:pos x="1496" y="654"/>
                </a:cxn>
                <a:cxn ang="0">
                  <a:pos x="1274" y="744"/>
                </a:cxn>
                <a:cxn ang="0">
                  <a:pos x="1002" y="854"/>
                </a:cxn>
                <a:cxn ang="0">
                  <a:pos x="905" y="893"/>
                </a:cxn>
                <a:cxn ang="0">
                  <a:pos x="898" y="902"/>
                </a:cxn>
                <a:cxn ang="0">
                  <a:pos x="864" y="1226"/>
                </a:cxn>
                <a:cxn ang="0">
                  <a:pos x="834" y="1499"/>
                </a:cxn>
                <a:cxn ang="0">
                  <a:pos x="808" y="1736"/>
                </a:cxn>
                <a:cxn ang="0">
                  <a:pos x="803" y="1778"/>
                </a:cxn>
                <a:cxn ang="0">
                  <a:pos x="795" y="1785"/>
                </a:cxn>
                <a:cxn ang="0">
                  <a:pos x="536" y="1714"/>
                </a:cxn>
                <a:cxn ang="0">
                  <a:pos x="330" y="1586"/>
                </a:cxn>
                <a:cxn ang="0">
                  <a:pos x="116" y="1329"/>
                </a:cxn>
                <a:cxn ang="0">
                  <a:pos x="20" y="1065"/>
                </a:cxn>
                <a:cxn ang="0">
                  <a:pos x="9" y="805"/>
                </a:cxn>
                <a:cxn ang="0">
                  <a:pos x="96" y="500"/>
                </a:cxn>
                <a:cxn ang="0">
                  <a:pos x="255" y="273"/>
                </a:cxn>
                <a:cxn ang="0">
                  <a:pos x="522" y="83"/>
                </a:cxn>
                <a:cxn ang="0">
                  <a:pos x="807" y="5"/>
                </a:cxn>
                <a:cxn ang="0">
                  <a:pos x="895" y="0"/>
                </a:cxn>
              </a:cxnLst>
              <a:rect l="0" t="0" r="r" b="b"/>
              <a:pathLst>
                <a:path w="1729" h="1785">
                  <a:moveTo>
                    <a:pt x="895" y="0"/>
                  </a:moveTo>
                  <a:cubicBezTo>
                    <a:pt x="1054" y="0"/>
                    <a:pt x="1203" y="38"/>
                    <a:pt x="1341" y="117"/>
                  </a:cubicBezTo>
                  <a:cubicBezTo>
                    <a:pt x="1451" y="179"/>
                    <a:pt x="1544" y="261"/>
                    <a:pt x="1619" y="363"/>
                  </a:cubicBezTo>
                  <a:cubicBezTo>
                    <a:pt x="1663" y="422"/>
                    <a:pt x="1699" y="485"/>
                    <a:pt x="1727" y="553"/>
                  </a:cubicBezTo>
                  <a:cubicBezTo>
                    <a:pt x="1729" y="558"/>
                    <a:pt x="1729" y="560"/>
                    <a:pt x="1723" y="563"/>
                  </a:cubicBezTo>
                  <a:cubicBezTo>
                    <a:pt x="1647" y="593"/>
                    <a:pt x="1571" y="624"/>
                    <a:pt x="1496" y="654"/>
                  </a:cubicBezTo>
                  <a:cubicBezTo>
                    <a:pt x="1422" y="684"/>
                    <a:pt x="1348" y="714"/>
                    <a:pt x="1274" y="744"/>
                  </a:cubicBezTo>
                  <a:cubicBezTo>
                    <a:pt x="1183" y="780"/>
                    <a:pt x="1093" y="817"/>
                    <a:pt x="1002" y="854"/>
                  </a:cubicBezTo>
                  <a:cubicBezTo>
                    <a:pt x="970" y="867"/>
                    <a:pt x="937" y="880"/>
                    <a:pt x="905" y="893"/>
                  </a:cubicBezTo>
                  <a:cubicBezTo>
                    <a:pt x="901" y="895"/>
                    <a:pt x="899" y="897"/>
                    <a:pt x="898" y="902"/>
                  </a:cubicBezTo>
                  <a:cubicBezTo>
                    <a:pt x="887" y="1010"/>
                    <a:pt x="875" y="1118"/>
                    <a:pt x="864" y="1226"/>
                  </a:cubicBezTo>
                  <a:cubicBezTo>
                    <a:pt x="854" y="1317"/>
                    <a:pt x="843" y="1408"/>
                    <a:pt x="834" y="1499"/>
                  </a:cubicBezTo>
                  <a:cubicBezTo>
                    <a:pt x="825" y="1578"/>
                    <a:pt x="816" y="1657"/>
                    <a:pt x="808" y="1736"/>
                  </a:cubicBezTo>
                  <a:cubicBezTo>
                    <a:pt x="806" y="1750"/>
                    <a:pt x="804" y="1764"/>
                    <a:pt x="803" y="1778"/>
                  </a:cubicBezTo>
                  <a:cubicBezTo>
                    <a:pt x="803" y="1784"/>
                    <a:pt x="801" y="1785"/>
                    <a:pt x="795" y="1785"/>
                  </a:cubicBezTo>
                  <a:cubicBezTo>
                    <a:pt x="705" y="1773"/>
                    <a:pt x="619" y="1750"/>
                    <a:pt x="536" y="1714"/>
                  </a:cubicBezTo>
                  <a:cubicBezTo>
                    <a:pt x="462" y="1681"/>
                    <a:pt x="393" y="1638"/>
                    <a:pt x="330" y="1586"/>
                  </a:cubicBezTo>
                  <a:cubicBezTo>
                    <a:pt x="243" y="1514"/>
                    <a:pt x="171" y="1428"/>
                    <a:pt x="116" y="1329"/>
                  </a:cubicBezTo>
                  <a:cubicBezTo>
                    <a:pt x="70" y="1246"/>
                    <a:pt x="38" y="1158"/>
                    <a:pt x="20" y="1065"/>
                  </a:cubicBezTo>
                  <a:cubicBezTo>
                    <a:pt x="3" y="979"/>
                    <a:pt x="0" y="893"/>
                    <a:pt x="9" y="805"/>
                  </a:cubicBezTo>
                  <a:cubicBezTo>
                    <a:pt x="19" y="698"/>
                    <a:pt x="48" y="597"/>
                    <a:pt x="96" y="500"/>
                  </a:cubicBezTo>
                  <a:cubicBezTo>
                    <a:pt x="137" y="416"/>
                    <a:pt x="190" y="341"/>
                    <a:pt x="255" y="273"/>
                  </a:cubicBezTo>
                  <a:cubicBezTo>
                    <a:pt x="332" y="194"/>
                    <a:pt x="421" y="130"/>
                    <a:pt x="522" y="83"/>
                  </a:cubicBezTo>
                  <a:cubicBezTo>
                    <a:pt x="612" y="41"/>
                    <a:pt x="707" y="15"/>
                    <a:pt x="807" y="5"/>
                  </a:cubicBezTo>
                  <a:cubicBezTo>
                    <a:pt x="836" y="2"/>
                    <a:pt x="865" y="0"/>
                    <a:pt x="895" y="0"/>
                  </a:cubicBezTo>
                  <a:close/>
                </a:path>
              </a:pathLst>
            </a:custGeom>
            <a:solidFill>
              <a:schemeClr val="accent6">
                <a:lumMod val="75000"/>
                <a:alpha val="64000"/>
              </a:schemeClr>
            </a:solidFill>
            <a:ln w="9525">
              <a:noFill/>
              <a:round/>
              <a:headEnd/>
              <a:tailEnd/>
            </a:ln>
            <a:effectLst>
              <a:outerShdw blurRad="215900" dist="38100" dir="2700000" algn="tl" rotWithShape="0">
                <a:prstClr val="black">
                  <a:alpha val="55000"/>
                </a:prstClr>
              </a:outerShdw>
            </a:effectLst>
            <a:sp3d z="-292100" extrusionH="400050" prstMaterial="flat">
              <a:bevelT w="101600" h="1016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9" name="Freeform 9"/>
            <p:cNvSpPr>
              <a:spLocks/>
            </p:cNvSpPr>
            <p:nvPr/>
          </p:nvSpPr>
          <p:spPr bwMode="auto">
            <a:xfrm>
              <a:off x="6847569" y="2690653"/>
              <a:ext cx="3163888" cy="3914775"/>
            </a:xfrm>
            <a:custGeom>
              <a:avLst/>
              <a:gdLst/>
              <a:ahLst/>
              <a:cxnLst>
                <a:cxn ang="0">
                  <a:pos x="95" y="1230"/>
                </a:cxn>
                <a:cxn ang="0">
                  <a:pos x="7" y="1226"/>
                </a:cxn>
                <a:cxn ang="0">
                  <a:pos x="0" y="1219"/>
                </a:cxn>
                <a:cxn ang="0">
                  <a:pos x="10" y="1132"/>
                </a:cxn>
                <a:cxn ang="0">
                  <a:pos x="21" y="1035"/>
                </a:cxn>
                <a:cxn ang="0">
                  <a:pos x="34" y="917"/>
                </a:cxn>
                <a:cxn ang="0">
                  <a:pos x="44" y="822"/>
                </a:cxn>
                <a:cxn ang="0">
                  <a:pos x="54" y="728"/>
                </a:cxn>
                <a:cxn ang="0">
                  <a:pos x="65" y="629"/>
                </a:cxn>
                <a:cxn ang="0">
                  <a:pos x="78" y="514"/>
                </a:cxn>
                <a:cxn ang="0">
                  <a:pos x="90" y="401"/>
                </a:cxn>
                <a:cxn ang="0">
                  <a:pos x="97" y="343"/>
                </a:cxn>
                <a:cxn ang="0">
                  <a:pos x="107" y="331"/>
                </a:cxn>
                <a:cxn ang="0">
                  <a:pos x="306" y="251"/>
                </a:cxn>
                <a:cxn ang="0">
                  <a:pos x="582" y="139"/>
                </a:cxn>
                <a:cxn ang="0">
                  <a:pos x="919" y="4"/>
                </a:cxn>
                <a:cxn ang="0">
                  <a:pos x="933" y="10"/>
                </a:cxn>
                <a:cxn ang="0">
                  <a:pos x="980" y="174"/>
                </a:cxn>
                <a:cxn ang="0">
                  <a:pos x="993" y="285"/>
                </a:cxn>
                <a:cxn ang="0">
                  <a:pos x="994" y="355"/>
                </a:cxn>
                <a:cxn ang="0">
                  <a:pos x="956" y="593"/>
                </a:cxn>
                <a:cxn ang="0">
                  <a:pos x="848" y="825"/>
                </a:cxn>
                <a:cxn ang="0">
                  <a:pos x="644" y="1045"/>
                </a:cxn>
                <a:cxn ang="0">
                  <a:pos x="386" y="1183"/>
                </a:cxn>
                <a:cxn ang="0">
                  <a:pos x="211" y="1223"/>
                </a:cxn>
                <a:cxn ang="0">
                  <a:pos x="95" y="1230"/>
                </a:cxn>
              </a:cxnLst>
              <a:rect l="0" t="0" r="r" b="b"/>
              <a:pathLst>
                <a:path w="995" h="1231">
                  <a:moveTo>
                    <a:pt x="95" y="1230"/>
                  </a:moveTo>
                  <a:cubicBezTo>
                    <a:pt x="67" y="1231"/>
                    <a:pt x="37" y="1228"/>
                    <a:pt x="7" y="1226"/>
                  </a:cubicBezTo>
                  <a:cubicBezTo>
                    <a:pt x="3" y="1226"/>
                    <a:pt x="0" y="1225"/>
                    <a:pt x="0" y="1219"/>
                  </a:cubicBezTo>
                  <a:cubicBezTo>
                    <a:pt x="4" y="1190"/>
                    <a:pt x="7" y="1161"/>
                    <a:pt x="10" y="1132"/>
                  </a:cubicBezTo>
                  <a:cubicBezTo>
                    <a:pt x="14" y="1099"/>
                    <a:pt x="18" y="1067"/>
                    <a:pt x="21" y="1035"/>
                  </a:cubicBezTo>
                  <a:cubicBezTo>
                    <a:pt x="25" y="995"/>
                    <a:pt x="30" y="956"/>
                    <a:pt x="34" y="917"/>
                  </a:cubicBezTo>
                  <a:cubicBezTo>
                    <a:pt x="38" y="885"/>
                    <a:pt x="41" y="853"/>
                    <a:pt x="44" y="822"/>
                  </a:cubicBezTo>
                  <a:cubicBezTo>
                    <a:pt x="48" y="791"/>
                    <a:pt x="51" y="760"/>
                    <a:pt x="54" y="728"/>
                  </a:cubicBezTo>
                  <a:cubicBezTo>
                    <a:pt x="58" y="695"/>
                    <a:pt x="62" y="662"/>
                    <a:pt x="65" y="629"/>
                  </a:cubicBezTo>
                  <a:cubicBezTo>
                    <a:pt x="70" y="590"/>
                    <a:pt x="74" y="552"/>
                    <a:pt x="78" y="514"/>
                  </a:cubicBezTo>
                  <a:cubicBezTo>
                    <a:pt x="82" y="477"/>
                    <a:pt x="86" y="439"/>
                    <a:pt x="90" y="401"/>
                  </a:cubicBezTo>
                  <a:cubicBezTo>
                    <a:pt x="92" y="382"/>
                    <a:pt x="95" y="362"/>
                    <a:pt x="97" y="343"/>
                  </a:cubicBezTo>
                  <a:cubicBezTo>
                    <a:pt x="97" y="336"/>
                    <a:pt x="101" y="333"/>
                    <a:pt x="107" y="331"/>
                  </a:cubicBezTo>
                  <a:cubicBezTo>
                    <a:pt x="173" y="305"/>
                    <a:pt x="239" y="278"/>
                    <a:pt x="306" y="251"/>
                  </a:cubicBezTo>
                  <a:cubicBezTo>
                    <a:pt x="398" y="214"/>
                    <a:pt x="490" y="177"/>
                    <a:pt x="582" y="139"/>
                  </a:cubicBezTo>
                  <a:cubicBezTo>
                    <a:pt x="694" y="94"/>
                    <a:pt x="807" y="49"/>
                    <a:pt x="919" y="4"/>
                  </a:cubicBezTo>
                  <a:cubicBezTo>
                    <a:pt x="927" y="0"/>
                    <a:pt x="930" y="1"/>
                    <a:pt x="933" y="10"/>
                  </a:cubicBezTo>
                  <a:cubicBezTo>
                    <a:pt x="954" y="63"/>
                    <a:pt x="970" y="117"/>
                    <a:pt x="980" y="174"/>
                  </a:cubicBezTo>
                  <a:cubicBezTo>
                    <a:pt x="987" y="210"/>
                    <a:pt x="991" y="247"/>
                    <a:pt x="993" y="285"/>
                  </a:cubicBezTo>
                  <a:cubicBezTo>
                    <a:pt x="994" y="308"/>
                    <a:pt x="995" y="331"/>
                    <a:pt x="994" y="355"/>
                  </a:cubicBezTo>
                  <a:cubicBezTo>
                    <a:pt x="992" y="436"/>
                    <a:pt x="980" y="515"/>
                    <a:pt x="956" y="593"/>
                  </a:cubicBezTo>
                  <a:cubicBezTo>
                    <a:pt x="931" y="676"/>
                    <a:pt x="895" y="753"/>
                    <a:pt x="848" y="825"/>
                  </a:cubicBezTo>
                  <a:cubicBezTo>
                    <a:pt x="793" y="910"/>
                    <a:pt x="725" y="983"/>
                    <a:pt x="644" y="1045"/>
                  </a:cubicBezTo>
                  <a:cubicBezTo>
                    <a:pt x="566" y="1105"/>
                    <a:pt x="480" y="1151"/>
                    <a:pt x="386" y="1183"/>
                  </a:cubicBezTo>
                  <a:cubicBezTo>
                    <a:pt x="329" y="1202"/>
                    <a:pt x="271" y="1216"/>
                    <a:pt x="211" y="1223"/>
                  </a:cubicBezTo>
                  <a:cubicBezTo>
                    <a:pt x="173" y="1227"/>
                    <a:pt x="135" y="1231"/>
                    <a:pt x="95" y="12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>
              <a:noFill/>
              <a:round/>
              <a:headEnd/>
              <a:tailEnd/>
            </a:ln>
            <a:effectLst>
              <a:outerShdw blurRad="165100" dist="38100" dir="2700000" algn="tl" rotWithShape="0">
                <a:prstClr val="black">
                  <a:alpha val="62000"/>
                </a:prstClr>
              </a:outerShdw>
            </a:effectLst>
            <a:sp3d z="-603250" extrusionH="88900" prstMaterial="flat">
              <a:bevelT w="101600" h="10160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cxnSp>
        <p:nvCxnSpPr>
          <p:cNvPr id="10" name="Прямая со стрелкой 9"/>
          <p:cNvCxnSpPr/>
          <p:nvPr/>
        </p:nvCxnSpPr>
        <p:spPr>
          <a:xfrm>
            <a:off x="625738" y="1985422"/>
            <a:ext cx="471077" cy="558394"/>
          </a:xfrm>
          <a:prstGeom prst="straightConnector1">
            <a:avLst/>
          </a:prstGeom>
          <a:ln w="698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rot="5400000">
            <a:off x="2045570" y="2775740"/>
            <a:ext cx="1714512" cy="144464"/>
          </a:xfrm>
          <a:prstGeom prst="straightConnector1">
            <a:avLst/>
          </a:prstGeom>
          <a:ln w="6985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3810000" y="1185570"/>
            <a:ext cx="5208494" cy="347394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бразование (620,3  млн. руб.) – 31,7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792071" y="1586464"/>
            <a:ext cx="5208494" cy="403699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оциальная политика (534,3 млн. руб.) – 27,3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836893" y="2040869"/>
            <a:ext cx="5118847" cy="428628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ЖКХ (286,7 млн. руб.) – 14,7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836894" y="3150256"/>
            <a:ext cx="5109882" cy="571504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бщегосударственные вопросы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150,3 млн. руб.) – 7,7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845859" y="4294940"/>
            <a:ext cx="5109882" cy="571504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Национальная экономика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 (44,9  млн. руб.) – 2,3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881718" y="3799085"/>
            <a:ext cx="5065058" cy="405362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Культура (59,6  млн. руб.) - 3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3890682" y="4961981"/>
            <a:ext cx="5065059" cy="571504"/>
          </a:xfrm>
          <a:prstGeom prst="roundRect">
            <a:avLst>
              <a:gd name="adj" fmla="val 46312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Физическая культура и спорт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19,9  млн. руб.) - 1%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7" name="Группа 4"/>
          <p:cNvGrpSpPr/>
          <p:nvPr/>
        </p:nvGrpSpPr>
        <p:grpSpPr>
          <a:xfrm>
            <a:off x="1050831" y="4514055"/>
            <a:ext cx="1951986" cy="579646"/>
            <a:chOff x="611560" y="4365104"/>
            <a:chExt cx="1951986" cy="579646"/>
          </a:xfrm>
        </p:grpSpPr>
        <p:sp>
          <p:nvSpPr>
            <p:cNvPr id="22" name="Овал 21"/>
            <p:cNvSpPr/>
            <p:nvPr/>
          </p:nvSpPr>
          <p:spPr>
            <a:xfrm>
              <a:off x="611560" y="4496293"/>
              <a:ext cx="360040" cy="36004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/>
            </a:scene3d>
            <a:sp3d prstMaterial="flat">
              <a:bevelT w="254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>
                <a:lnSpc>
                  <a:spcPts val="1900"/>
                </a:lnSpc>
              </a:pPr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71600" y="4365104"/>
              <a:ext cx="1591946" cy="5796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Всего расходов</a:t>
              </a:r>
            </a:p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в </a:t>
              </a:r>
              <a:r>
                <a:rPr lang="ru-RU" sz="16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2022 </a:t>
              </a: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году</a:t>
              </a:r>
            </a:p>
          </p:txBody>
        </p:sp>
      </p:grpSp>
      <p:grpSp>
        <p:nvGrpSpPr>
          <p:cNvPr id="17" name="Группа 5"/>
          <p:cNvGrpSpPr/>
          <p:nvPr/>
        </p:nvGrpSpPr>
        <p:grpSpPr>
          <a:xfrm>
            <a:off x="1032901" y="5108339"/>
            <a:ext cx="2794474" cy="823302"/>
            <a:chOff x="611560" y="5013176"/>
            <a:chExt cx="2794474" cy="823302"/>
          </a:xfrm>
        </p:grpSpPr>
        <p:sp>
          <p:nvSpPr>
            <p:cNvPr id="25" name="Овал 24"/>
            <p:cNvSpPr/>
            <p:nvPr/>
          </p:nvSpPr>
          <p:spPr>
            <a:xfrm>
              <a:off x="611560" y="5144365"/>
              <a:ext cx="360040" cy="36004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  <a:scene3d>
              <a:camera prst="orthographicFront"/>
              <a:lightRig rig="contrasting" dir="t"/>
            </a:scene3d>
            <a:sp3d prstMaterial="flat">
              <a:bevelT w="254000" h="2540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>
                <a:lnSpc>
                  <a:spcPts val="1900"/>
                </a:lnSpc>
              </a:pPr>
              <a:endParaRPr lang="ru-RU" b="1">
                <a:solidFill>
                  <a:schemeClr val="tx1"/>
                </a:solidFill>
              </a:endParaRP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71600" y="5013176"/>
              <a:ext cx="2434434" cy="8233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>
                <a:lnSpc>
                  <a:spcPts val="1900"/>
                </a:lnSpc>
              </a:pPr>
              <a:r>
                <a:rPr lang="ru-RU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Расходы на отрасли социально-культурной сферы</a:t>
              </a:r>
            </a:p>
          </p:txBody>
        </p:sp>
      </p:grpSp>
      <p:sp>
        <p:nvSpPr>
          <p:cNvPr id="24" name="Скругленный прямоугольник 23"/>
          <p:cNvSpPr/>
          <p:nvPr/>
        </p:nvSpPr>
        <p:spPr>
          <a:xfrm>
            <a:off x="3944470" y="5648612"/>
            <a:ext cx="4993341" cy="571504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Иные направления расходов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15,4 млн. руб.) – 0,8%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3881718" y="2560820"/>
            <a:ext cx="5118847" cy="487179"/>
          </a:xfrm>
          <a:prstGeom prst="roundRect">
            <a:avLst>
              <a:gd name="adj" fmla="val 46312"/>
            </a:avLst>
          </a:prstGeom>
          <a:solidFill>
            <a:schemeClr val="bg1">
              <a:lumMod val="95000"/>
            </a:schemeClr>
          </a:solidFill>
          <a:ln>
            <a:noFill/>
          </a:ln>
          <a:effectLst/>
          <a:scene3d>
            <a:camera prst="orthographicFront"/>
            <a:lightRig rig="contrasting" dir="t"/>
          </a:scene3d>
          <a:sp3d prstMaterial="flat">
            <a:bevelT w="254000" h="2540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храна окружающей среды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(225,5 млн. руб.) – 11,5%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30" name="object 11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6500"/>
                            </p:stCondLst>
                            <p:childTnLst>
                              <p:par>
                                <p:cTn id="5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7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75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8" grpId="0" animBg="1"/>
      <p:bldP spid="20" grpId="0" animBg="1"/>
      <p:bldP spid="24" grpId="0" animBg="1"/>
      <p:bldP spid="2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269066" y="595835"/>
            <a:ext cx="6646334" cy="2814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1500" b="1" dirty="0" smtClean="0">
                <a:latin typeface="Arial Black" pitchFamily="34" charset="0"/>
              </a:rPr>
              <a:t>Расходы в разрезе муниципальных программ на 202</a:t>
            </a:r>
            <a:r>
              <a:rPr lang="en-US" altLang="ru-RU" sz="1500" b="1" dirty="0" smtClean="0">
                <a:latin typeface="Arial Black" pitchFamily="34" charset="0"/>
              </a:rPr>
              <a:t>2</a:t>
            </a:r>
            <a:r>
              <a:rPr lang="ru-RU" altLang="ru-RU" sz="1500" b="1" dirty="0" smtClean="0">
                <a:latin typeface="Arial Black" pitchFamily="34" charset="0"/>
              </a:rPr>
              <a:t> год</a:t>
            </a:r>
            <a:endParaRPr lang="ru-RU" altLang="ru-RU" sz="1500" b="1" dirty="0">
              <a:latin typeface="Arial Black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53541" y="625160"/>
            <a:ext cx="1246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 smtClean="0">
                <a:latin typeface="Arial Black" pitchFamily="34" charset="0"/>
              </a:rPr>
              <a:t>Схема № 8</a:t>
            </a:r>
          </a:p>
          <a:p>
            <a:pPr algn="ctr"/>
            <a:r>
              <a:rPr lang="ru-RU" sz="1200" dirty="0" smtClean="0">
                <a:latin typeface="Arial Black" pitchFamily="34" charset="0"/>
              </a:rPr>
              <a:t>млн. рублей</a:t>
            </a:r>
            <a:endParaRPr lang="ru-RU" sz="1200" dirty="0">
              <a:latin typeface="Arial Black" pitchFamily="34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440266" y="1102660"/>
          <a:ext cx="8703734" cy="5091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16" name="object 88"/>
          <p:cNvGrpSpPr/>
          <p:nvPr/>
        </p:nvGrpSpPr>
        <p:grpSpPr>
          <a:xfrm>
            <a:off x="0" y="1078787"/>
            <a:ext cx="5161749" cy="5250094"/>
            <a:chOff x="3864228" y="1984120"/>
            <a:chExt cx="4410075" cy="4382770"/>
          </a:xfrm>
          <a:scene3d>
            <a:camera prst="orthographicFront">
              <a:rot lat="0" lon="11999976" rev="0"/>
            </a:camera>
            <a:lightRig rig="threePt" dir="t"/>
          </a:scene3d>
        </p:grpSpPr>
        <p:sp>
          <p:nvSpPr>
            <p:cNvPr id="17" name="object 89"/>
            <p:cNvSpPr/>
            <p:nvPr/>
          </p:nvSpPr>
          <p:spPr>
            <a:xfrm>
              <a:off x="6512560" y="2028374"/>
              <a:ext cx="426084" cy="394970"/>
            </a:xfrm>
            <a:custGeom>
              <a:avLst/>
              <a:gdLst/>
              <a:ahLst/>
              <a:cxnLst/>
              <a:rect l="l" t="t" r="r" b="b"/>
              <a:pathLst>
                <a:path w="426084" h="394969">
                  <a:moveTo>
                    <a:pt x="408850" y="60232"/>
                  </a:moveTo>
                  <a:lnTo>
                    <a:pt x="20498" y="60232"/>
                  </a:lnTo>
                  <a:lnTo>
                    <a:pt x="12491" y="61912"/>
                  </a:lnTo>
                  <a:lnTo>
                    <a:pt x="5978" y="66584"/>
                  </a:lnTo>
                  <a:lnTo>
                    <a:pt x="1601" y="73693"/>
                  </a:lnTo>
                  <a:lnTo>
                    <a:pt x="0" y="82684"/>
                  </a:lnTo>
                  <a:lnTo>
                    <a:pt x="0" y="257494"/>
                  </a:lnTo>
                  <a:lnTo>
                    <a:pt x="5693" y="265761"/>
                  </a:lnTo>
                  <a:lnTo>
                    <a:pt x="13665" y="269305"/>
                  </a:lnTo>
                  <a:lnTo>
                    <a:pt x="13665" y="373247"/>
                  </a:lnTo>
                  <a:lnTo>
                    <a:pt x="15445" y="381552"/>
                  </a:lnTo>
                  <a:lnTo>
                    <a:pt x="20214" y="388307"/>
                  </a:lnTo>
                  <a:lnTo>
                    <a:pt x="27118" y="392847"/>
                  </a:lnTo>
                  <a:lnTo>
                    <a:pt x="35304" y="394508"/>
                  </a:lnTo>
                  <a:lnTo>
                    <a:pt x="394046" y="394508"/>
                  </a:lnTo>
                  <a:lnTo>
                    <a:pt x="402231" y="392847"/>
                  </a:lnTo>
                  <a:lnTo>
                    <a:pt x="409132" y="388307"/>
                  </a:lnTo>
                  <a:lnTo>
                    <a:pt x="413898" y="381552"/>
                  </a:lnTo>
                  <a:lnTo>
                    <a:pt x="414159" y="380334"/>
                  </a:lnTo>
                  <a:lnTo>
                    <a:pt x="31886" y="380334"/>
                  </a:lnTo>
                  <a:lnTo>
                    <a:pt x="28470" y="376791"/>
                  </a:lnTo>
                  <a:lnTo>
                    <a:pt x="28470" y="271668"/>
                  </a:lnTo>
                  <a:lnTo>
                    <a:pt x="136096" y="271668"/>
                  </a:lnTo>
                  <a:lnTo>
                    <a:pt x="20498" y="255131"/>
                  </a:lnTo>
                  <a:lnTo>
                    <a:pt x="15943" y="255131"/>
                  </a:lnTo>
                  <a:lnTo>
                    <a:pt x="13665" y="251588"/>
                  </a:lnTo>
                  <a:lnTo>
                    <a:pt x="13665" y="77960"/>
                  </a:lnTo>
                  <a:lnTo>
                    <a:pt x="17082" y="75589"/>
                  </a:lnTo>
                  <a:lnTo>
                    <a:pt x="425960" y="75589"/>
                  </a:lnTo>
                  <a:lnTo>
                    <a:pt x="425960" y="70796"/>
                  </a:lnTo>
                  <a:lnTo>
                    <a:pt x="423368" y="66584"/>
                  </a:lnTo>
                  <a:lnTo>
                    <a:pt x="416858" y="61912"/>
                  </a:lnTo>
                  <a:lnTo>
                    <a:pt x="408850" y="60232"/>
                  </a:lnTo>
                  <a:close/>
                </a:path>
                <a:path w="426084" h="394969">
                  <a:moveTo>
                    <a:pt x="415676" y="271668"/>
                  </a:moveTo>
                  <a:lnTo>
                    <a:pt x="400871" y="271668"/>
                  </a:lnTo>
                  <a:lnTo>
                    <a:pt x="400871" y="376791"/>
                  </a:lnTo>
                  <a:lnTo>
                    <a:pt x="397458" y="380334"/>
                  </a:lnTo>
                  <a:lnTo>
                    <a:pt x="414159" y="380334"/>
                  </a:lnTo>
                  <a:lnTo>
                    <a:pt x="415676" y="373247"/>
                  </a:lnTo>
                  <a:lnTo>
                    <a:pt x="415676" y="271668"/>
                  </a:lnTo>
                  <a:close/>
                </a:path>
                <a:path w="426084" h="394969">
                  <a:moveTo>
                    <a:pt x="136096" y="271668"/>
                  </a:moveTo>
                  <a:lnTo>
                    <a:pt x="28470" y="271668"/>
                  </a:lnTo>
                  <a:lnTo>
                    <a:pt x="185631" y="294109"/>
                  </a:lnTo>
                  <a:lnTo>
                    <a:pt x="185631" y="313008"/>
                  </a:lnTo>
                  <a:lnTo>
                    <a:pt x="187411" y="321996"/>
                  </a:lnTo>
                  <a:lnTo>
                    <a:pt x="192182" y="329102"/>
                  </a:lnTo>
                  <a:lnTo>
                    <a:pt x="199088" y="333771"/>
                  </a:lnTo>
                  <a:lnTo>
                    <a:pt x="207276" y="335451"/>
                  </a:lnTo>
                  <a:lnTo>
                    <a:pt x="222081" y="335451"/>
                  </a:lnTo>
                  <a:lnTo>
                    <a:pt x="230260" y="333771"/>
                  </a:lnTo>
                  <a:lnTo>
                    <a:pt x="237162" y="329102"/>
                  </a:lnTo>
                  <a:lnTo>
                    <a:pt x="241931" y="321996"/>
                  </a:lnTo>
                  <a:lnTo>
                    <a:pt x="242073" y="321277"/>
                  </a:lnTo>
                  <a:lnTo>
                    <a:pt x="203848" y="321277"/>
                  </a:lnTo>
                  <a:lnTo>
                    <a:pt x="200435" y="317733"/>
                  </a:lnTo>
                  <a:lnTo>
                    <a:pt x="200435" y="278754"/>
                  </a:lnTo>
                  <a:lnTo>
                    <a:pt x="185631" y="278754"/>
                  </a:lnTo>
                  <a:lnTo>
                    <a:pt x="136096" y="271668"/>
                  </a:lnTo>
                  <a:close/>
                </a:path>
                <a:path w="426084" h="394969">
                  <a:moveTo>
                    <a:pt x="242192" y="261038"/>
                  </a:moveTo>
                  <a:lnTo>
                    <a:pt x="225494" y="261038"/>
                  </a:lnTo>
                  <a:lnTo>
                    <a:pt x="228907" y="264580"/>
                  </a:lnTo>
                  <a:lnTo>
                    <a:pt x="228907" y="317733"/>
                  </a:lnTo>
                  <a:lnTo>
                    <a:pt x="225494" y="321277"/>
                  </a:lnTo>
                  <a:lnTo>
                    <a:pt x="242073" y="321277"/>
                  </a:lnTo>
                  <a:lnTo>
                    <a:pt x="243711" y="313008"/>
                  </a:lnTo>
                  <a:lnTo>
                    <a:pt x="243711" y="294109"/>
                  </a:lnTo>
                  <a:lnTo>
                    <a:pt x="351245" y="278754"/>
                  </a:lnTo>
                  <a:lnTo>
                    <a:pt x="243711" y="278754"/>
                  </a:lnTo>
                  <a:lnTo>
                    <a:pt x="243711" y="268124"/>
                  </a:lnTo>
                  <a:lnTo>
                    <a:pt x="242192" y="261038"/>
                  </a:lnTo>
                  <a:close/>
                </a:path>
                <a:path w="426084" h="394969">
                  <a:moveTo>
                    <a:pt x="222081" y="246864"/>
                  </a:moveTo>
                  <a:lnTo>
                    <a:pt x="207276" y="246864"/>
                  </a:lnTo>
                  <a:lnTo>
                    <a:pt x="199088" y="248525"/>
                  </a:lnTo>
                  <a:lnTo>
                    <a:pt x="192182" y="253065"/>
                  </a:lnTo>
                  <a:lnTo>
                    <a:pt x="187411" y="259819"/>
                  </a:lnTo>
                  <a:lnTo>
                    <a:pt x="185631" y="268124"/>
                  </a:lnTo>
                  <a:lnTo>
                    <a:pt x="185631" y="278754"/>
                  </a:lnTo>
                  <a:lnTo>
                    <a:pt x="200435" y="278754"/>
                  </a:lnTo>
                  <a:lnTo>
                    <a:pt x="200435" y="264580"/>
                  </a:lnTo>
                  <a:lnTo>
                    <a:pt x="203848" y="261038"/>
                  </a:lnTo>
                  <a:lnTo>
                    <a:pt x="242192" y="261038"/>
                  </a:lnTo>
                  <a:lnTo>
                    <a:pt x="241931" y="259819"/>
                  </a:lnTo>
                  <a:lnTo>
                    <a:pt x="237162" y="253065"/>
                  </a:lnTo>
                  <a:lnTo>
                    <a:pt x="230260" y="248525"/>
                  </a:lnTo>
                  <a:lnTo>
                    <a:pt x="222081" y="246864"/>
                  </a:lnTo>
                  <a:close/>
                </a:path>
                <a:path w="426084" h="394969">
                  <a:moveTo>
                    <a:pt x="425960" y="75589"/>
                  </a:moveTo>
                  <a:lnTo>
                    <a:pt x="412263" y="75589"/>
                  </a:lnTo>
                  <a:lnTo>
                    <a:pt x="415676" y="77960"/>
                  </a:lnTo>
                  <a:lnTo>
                    <a:pt x="415676" y="251588"/>
                  </a:lnTo>
                  <a:lnTo>
                    <a:pt x="413401" y="255131"/>
                  </a:lnTo>
                  <a:lnTo>
                    <a:pt x="408850" y="255131"/>
                  </a:lnTo>
                  <a:lnTo>
                    <a:pt x="407712" y="256313"/>
                  </a:lnTo>
                  <a:lnTo>
                    <a:pt x="243711" y="278754"/>
                  </a:lnTo>
                  <a:lnTo>
                    <a:pt x="351245" y="278754"/>
                  </a:lnTo>
                  <a:lnTo>
                    <a:pt x="400871" y="271668"/>
                  </a:lnTo>
                  <a:lnTo>
                    <a:pt x="415676" y="271668"/>
                  </a:lnTo>
                  <a:lnTo>
                    <a:pt x="415676" y="269305"/>
                  </a:lnTo>
                  <a:lnTo>
                    <a:pt x="423654" y="265761"/>
                  </a:lnTo>
                  <a:lnTo>
                    <a:pt x="425960" y="262410"/>
                  </a:lnTo>
                  <a:lnTo>
                    <a:pt x="425960" y="75589"/>
                  </a:lnTo>
                  <a:close/>
                </a:path>
                <a:path w="426084" h="394969">
                  <a:moveTo>
                    <a:pt x="298185" y="0"/>
                  </a:moveTo>
                  <a:lnTo>
                    <a:pt x="131160" y="0"/>
                  </a:lnTo>
                  <a:lnTo>
                    <a:pt x="124418" y="4432"/>
                  </a:lnTo>
                  <a:lnTo>
                    <a:pt x="116696" y="16022"/>
                  </a:lnTo>
                  <a:lnTo>
                    <a:pt x="113884" y="30713"/>
                  </a:lnTo>
                  <a:lnTo>
                    <a:pt x="113884" y="60232"/>
                  </a:lnTo>
                  <a:lnTo>
                    <a:pt x="128690" y="60232"/>
                  </a:lnTo>
                  <a:lnTo>
                    <a:pt x="128690" y="30713"/>
                  </a:lnTo>
                  <a:lnTo>
                    <a:pt x="130309" y="21722"/>
                  </a:lnTo>
                  <a:lnTo>
                    <a:pt x="134811" y="14618"/>
                  </a:lnTo>
                  <a:lnTo>
                    <a:pt x="141662" y="9952"/>
                  </a:lnTo>
                  <a:lnTo>
                    <a:pt x="150328" y="8275"/>
                  </a:lnTo>
                  <a:lnTo>
                    <a:pt x="307485" y="8275"/>
                  </a:lnTo>
                  <a:lnTo>
                    <a:pt x="304925" y="4432"/>
                  </a:lnTo>
                  <a:lnTo>
                    <a:pt x="298185" y="0"/>
                  </a:lnTo>
                  <a:close/>
                </a:path>
                <a:path w="426084" h="394969">
                  <a:moveTo>
                    <a:pt x="283574" y="23631"/>
                  </a:moveTo>
                  <a:lnTo>
                    <a:pt x="145773" y="23631"/>
                  </a:lnTo>
                  <a:lnTo>
                    <a:pt x="142355" y="25986"/>
                  </a:lnTo>
                  <a:lnTo>
                    <a:pt x="142355" y="60232"/>
                  </a:lnTo>
                  <a:lnTo>
                    <a:pt x="157160" y="60232"/>
                  </a:lnTo>
                  <a:lnTo>
                    <a:pt x="157160" y="37794"/>
                  </a:lnTo>
                  <a:lnTo>
                    <a:pt x="285849" y="37794"/>
                  </a:lnTo>
                  <a:lnTo>
                    <a:pt x="285849" y="25986"/>
                  </a:lnTo>
                  <a:lnTo>
                    <a:pt x="283574" y="23631"/>
                  </a:lnTo>
                  <a:close/>
                </a:path>
                <a:path w="426084" h="394969">
                  <a:moveTo>
                    <a:pt x="285849" y="37794"/>
                  </a:moveTo>
                  <a:lnTo>
                    <a:pt x="272182" y="37794"/>
                  </a:lnTo>
                  <a:lnTo>
                    <a:pt x="272182" y="60232"/>
                  </a:lnTo>
                  <a:lnTo>
                    <a:pt x="285849" y="60232"/>
                  </a:lnTo>
                  <a:lnTo>
                    <a:pt x="285849" y="37794"/>
                  </a:lnTo>
                  <a:close/>
                </a:path>
                <a:path w="426084" h="394969">
                  <a:moveTo>
                    <a:pt x="307485" y="8275"/>
                  </a:moveTo>
                  <a:lnTo>
                    <a:pt x="279023" y="8275"/>
                  </a:lnTo>
                  <a:lnTo>
                    <a:pt x="287689" y="9952"/>
                  </a:lnTo>
                  <a:lnTo>
                    <a:pt x="294537" y="14618"/>
                  </a:lnTo>
                  <a:lnTo>
                    <a:pt x="299036" y="21722"/>
                  </a:lnTo>
                  <a:lnTo>
                    <a:pt x="300653" y="30713"/>
                  </a:lnTo>
                  <a:lnTo>
                    <a:pt x="300653" y="60232"/>
                  </a:lnTo>
                  <a:lnTo>
                    <a:pt x="315458" y="60232"/>
                  </a:lnTo>
                  <a:lnTo>
                    <a:pt x="315458" y="30713"/>
                  </a:lnTo>
                  <a:lnTo>
                    <a:pt x="312647" y="16022"/>
                  </a:lnTo>
                  <a:lnTo>
                    <a:pt x="307485" y="8275"/>
                  </a:lnTo>
                  <a:close/>
                </a:path>
              </a:pathLst>
            </a:custGeom>
            <a:solidFill>
              <a:srgbClr val="0082C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18" name="object 90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7662036" y="2957568"/>
              <a:ext cx="435488" cy="435490"/>
            </a:xfrm>
            <a:prstGeom prst="rect">
              <a:avLst/>
            </a:prstGeom>
          </p:spPr>
        </p:pic>
        <p:pic>
          <p:nvPicPr>
            <p:cNvPr id="19" name="object 91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6926706" y="5629494"/>
              <a:ext cx="458476" cy="458664"/>
            </a:xfrm>
            <a:prstGeom prst="rect">
              <a:avLst/>
            </a:prstGeom>
          </p:spPr>
        </p:pic>
        <p:sp>
          <p:nvSpPr>
            <p:cNvPr id="20" name="object 92"/>
            <p:cNvSpPr/>
            <p:nvPr/>
          </p:nvSpPr>
          <p:spPr>
            <a:xfrm>
              <a:off x="5662041" y="5949404"/>
              <a:ext cx="418465" cy="417830"/>
            </a:xfrm>
            <a:custGeom>
              <a:avLst/>
              <a:gdLst/>
              <a:ahLst/>
              <a:cxnLst/>
              <a:rect l="l" t="t" r="r" b="b"/>
              <a:pathLst>
                <a:path w="418464" h="417829">
                  <a:moveTo>
                    <a:pt x="98373" y="113823"/>
                  </a:moveTo>
                  <a:lnTo>
                    <a:pt x="83840" y="113823"/>
                  </a:lnTo>
                  <a:lnTo>
                    <a:pt x="83840" y="415071"/>
                  </a:lnTo>
                  <a:lnTo>
                    <a:pt x="87194" y="417370"/>
                  </a:lnTo>
                  <a:lnTo>
                    <a:pt x="334244" y="417370"/>
                  </a:lnTo>
                  <a:lnTo>
                    <a:pt x="337594" y="415071"/>
                  </a:lnTo>
                  <a:lnTo>
                    <a:pt x="337594" y="403573"/>
                  </a:lnTo>
                  <a:lnTo>
                    <a:pt x="98373" y="403573"/>
                  </a:lnTo>
                  <a:lnTo>
                    <a:pt x="98373" y="113823"/>
                  </a:lnTo>
                  <a:close/>
                </a:path>
                <a:path w="418464" h="417829">
                  <a:moveTo>
                    <a:pt x="337594" y="0"/>
                  </a:moveTo>
                  <a:lnTo>
                    <a:pt x="83840" y="0"/>
                  </a:lnTo>
                  <a:lnTo>
                    <a:pt x="83840" y="98878"/>
                  </a:lnTo>
                  <a:lnTo>
                    <a:pt x="2235" y="98878"/>
                  </a:lnTo>
                  <a:lnTo>
                    <a:pt x="0" y="102334"/>
                  </a:lnTo>
                  <a:lnTo>
                    <a:pt x="0" y="407023"/>
                  </a:lnTo>
                  <a:lnTo>
                    <a:pt x="2235" y="410471"/>
                  </a:lnTo>
                  <a:lnTo>
                    <a:pt x="10060" y="410471"/>
                  </a:lnTo>
                  <a:lnTo>
                    <a:pt x="13413" y="407023"/>
                  </a:lnTo>
                  <a:lnTo>
                    <a:pt x="13414" y="113823"/>
                  </a:lnTo>
                  <a:lnTo>
                    <a:pt x="98373" y="113823"/>
                  </a:lnTo>
                  <a:lnTo>
                    <a:pt x="98373" y="4604"/>
                  </a:lnTo>
                  <a:lnTo>
                    <a:pt x="337594" y="4604"/>
                  </a:lnTo>
                  <a:lnTo>
                    <a:pt x="337594" y="0"/>
                  </a:lnTo>
                  <a:close/>
                </a:path>
                <a:path w="418464" h="417829">
                  <a:moveTo>
                    <a:pt x="418115" y="70135"/>
                  </a:moveTo>
                  <a:lnTo>
                    <a:pt x="408020" y="70135"/>
                  </a:lnTo>
                  <a:lnTo>
                    <a:pt x="408020" y="407023"/>
                  </a:lnTo>
                  <a:lnTo>
                    <a:pt x="411385" y="410471"/>
                  </a:lnTo>
                  <a:lnTo>
                    <a:pt x="418115" y="410471"/>
                  </a:lnTo>
                  <a:lnTo>
                    <a:pt x="418115" y="70135"/>
                  </a:lnTo>
                  <a:close/>
                </a:path>
                <a:path w="418464" h="417829">
                  <a:moveTo>
                    <a:pt x="257104" y="324239"/>
                  </a:moveTo>
                  <a:lnTo>
                    <a:pt x="164330" y="324239"/>
                  </a:lnTo>
                  <a:lnTo>
                    <a:pt x="160980" y="326538"/>
                  </a:lnTo>
                  <a:lnTo>
                    <a:pt x="160980" y="403573"/>
                  </a:lnTo>
                  <a:lnTo>
                    <a:pt x="175512" y="403573"/>
                  </a:lnTo>
                  <a:lnTo>
                    <a:pt x="175512" y="338035"/>
                  </a:lnTo>
                  <a:lnTo>
                    <a:pt x="260469" y="338035"/>
                  </a:lnTo>
                  <a:lnTo>
                    <a:pt x="260469" y="326538"/>
                  </a:lnTo>
                  <a:lnTo>
                    <a:pt x="257104" y="324239"/>
                  </a:lnTo>
                  <a:close/>
                </a:path>
                <a:path w="418464" h="417829">
                  <a:moveTo>
                    <a:pt x="217990" y="338035"/>
                  </a:moveTo>
                  <a:lnTo>
                    <a:pt x="203458" y="338035"/>
                  </a:lnTo>
                  <a:lnTo>
                    <a:pt x="203458" y="403573"/>
                  </a:lnTo>
                  <a:lnTo>
                    <a:pt x="217990" y="403573"/>
                  </a:lnTo>
                  <a:lnTo>
                    <a:pt x="217990" y="338035"/>
                  </a:lnTo>
                  <a:close/>
                </a:path>
                <a:path w="418464" h="417829">
                  <a:moveTo>
                    <a:pt x="260469" y="338035"/>
                  </a:moveTo>
                  <a:lnTo>
                    <a:pt x="245937" y="338035"/>
                  </a:lnTo>
                  <a:lnTo>
                    <a:pt x="245937" y="403573"/>
                  </a:lnTo>
                  <a:lnTo>
                    <a:pt x="260469" y="403573"/>
                  </a:lnTo>
                  <a:lnTo>
                    <a:pt x="260469" y="338035"/>
                  </a:lnTo>
                  <a:close/>
                </a:path>
                <a:path w="418464" h="417829">
                  <a:moveTo>
                    <a:pt x="337594" y="4604"/>
                  </a:moveTo>
                  <a:lnTo>
                    <a:pt x="323062" y="4604"/>
                  </a:lnTo>
                  <a:lnTo>
                    <a:pt x="323062" y="403573"/>
                  </a:lnTo>
                  <a:lnTo>
                    <a:pt x="337594" y="403573"/>
                  </a:lnTo>
                  <a:lnTo>
                    <a:pt x="337594" y="70135"/>
                  </a:lnTo>
                  <a:lnTo>
                    <a:pt x="418115" y="70135"/>
                  </a:lnTo>
                  <a:lnTo>
                    <a:pt x="418115" y="56337"/>
                  </a:lnTo>
                  <a:lnTo>
                    <a:pt x="337594" y="56337"/>
                  </a:lnTo>
                  <a:lnTo>
                    <a:pt x="337594" y="4604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1" name="object 93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5773828" y="5968954"/>
              <a:ext cx="197861" cy="274795"/>
            </a:xfrm>
            <a:prstGeom prst="rect">
              <a:avLst/>
            </a:prstGeom>
          </p:spPr>
        </p:pic>
        <p:sp>
          <p:nvSpPr>
            <p:cNvPr id="22" name="object 94"/>
            <p:cNvSpPr/>
            <p:nvPr/>
          </p:nvSpPr>
          <p:spPr>
            <a:xfrm>
              <a:off x="3884168" y="3431857"/>
              <a:ext cx="2171700" cy="2899410"/>
            </a:xfrm>
            <a:custGeom>
              <a:avLst/>
              <a:gdLst/>
              <a:ahLst/>
              <a:cxnLst/>
              <a:rect l="l" t="t" r="r" b="b"/>
              <a:pathLst>
                <a:path w="2171700" h="2899410">
                  <a:moveTo>
                    <a:pt x="42443" y="59690"/>
                  </a:moveTo>
                  <a:lnTo>
                    <a:pt x="1143" y="59690"/>
                  </a:lnTo>
                  <a:lnTo>
                    <a:pt x="1143" y="73444"/>
                  </a:lnTo>
                  <a:lnTo>
                    <a:pt x="42443" y="73444"/>
                  </a:lnTo>
                  <a:lnTo>
                    <a:pt x="42443" y="59690"/>
                  </a:lnTo>
                  <a:close/>
                </a:path>
                <a:path w="2171700" h="2899410">
                  <a:moveTo>
                    <a:pt x="50469" y="89535"/>
                  </a:moveTo>
                  <a:lnTo>
                    <a:pt x="43586" y="78054"/>
                  </a:lnTo>
                  <a:lnTo>
                    <a:pt x="8026" y="98704"/>
                  </a:lnTo>
                  <a:lnTo>
                    <a:pt x="14909" y="110185"/>
                  </a:lnTo>
                  <a:lnTo>
                    <a:pt x="50469" y="89535"/>
                  </a:lnTo>
                  <a:close/>
                </a:path>
                <a:path w="2171700" h="2899410">
                  <a:moveTo>
                    <a:pt x="50469" y="42456"/>
                  </a:moveTo>
                  <a:lnTo>
                    <a:pt x="14909" y="21805"/>
                  </a:lnTo>
                  <a:lnTo>
                    <a:pt x="8026" y="34429"/>
                  </a:lnTo>
                  <a:lnTo>
                    <a:pt x="43586" y="55092"/>
                  </a:lnTo>
                  <a:lnTo>
                    <a:pt x="50469" y="42456"/>
                  </a:lnTo>
                  <a:close/>
                </a:path>
                <a:path w="2171700" h="2899410">
                  <a:moveTo>
                    <a:pt x="244348" y="198551"/>
                  </a:moveTo>
                  <a:lnTo>
                    <a:pt x="230581" y="198551"/>
                  </a:lnTo>
                  <a:lnTo>
                    <a:pt x="230581" y="212331"/>
                  </a:lnTo>
                  <a:lnTo>
                    <a:pt x="244348" y="212331"/>
                  </a:lnTo>
                  <a:lnTo>
                    <a:pt x="244348" y="198551"/>
                  </a:lnTo>
                  <a:close/>
                </a:path>
                <a:path w="2171700" h="2899410">
                  <a:moveTo>
                    <a:pt x="273024" y="198551"/>
                  </a:moveTo>
                  <a:lnTo>
                    <a:pt x="259257" y="198551"/>
                  </a:lnTo>
                  <a:lnTo>
                    <a:pt x="259257" y="212331"/>
                  </a:lnTo>
                  <a:lnTo>
                    <a:pt x="273024" y="212331"/>
                  </a:lnTo>
                  <a:lnTo>
                    <a:pt x="273024" y="198551"/>
                  </a:lnTo>
                  <a:close/>
                </a:path>
                <a:path w="2171700" h="2899410">
                  <a:moveTo>
                    <a:pt x="286791" y="241020"/>
                  </a:moveTo>
                  <a:lnTo>
                    <a:pt x="91770" y="241020"/>
                  </a:lnTo>
                  <a:lnTo>
                    <a:pt x="91770" y="257086"/>
                  </a:lnTo>
                  <a:lnTo>
                    <a:pt x="30962" y="226098"/>
                  </a:lnTo>
                  <a:lnTo>
                    <a:pt x="91770" y="196265"/>
                  </a:lnTo>
                  <a:lnTo>
                    <a:pt x="91770" y="212331"/>
                  </a:lnTo>
                  <a:lnTo>
                    <a:pt x="216814" y="212331"/>
                  </a:lnTo>
                  <a:lnTo>
                    <a:pt x="216814" y="198551"/>
                  </a:lnTo>
                  <a:lnTo>
                    <a:pt x="105537" y="198551"/>
                  </a:lnTo>
                  <a:lnTo>
                    <a:pt x="105537" y="173304"/>
                  </a:lnTo>
                  <a:lnTo>
                    <a:pt x="0" y="226098"/>
                  </a:lnTo>
                  <a:lnTo>
                    <a:pt x="105537" y="280047"/>
                  </a:lnTo>
                  <a:lnTo>
                    <a:pt x="105537" y="254787"/>
                  </a:lnTo>
                  <a:lnTo>
                    <a:pt x="286791" y="254787"/>
                  </a:lnTo>
                  <a:lnTo>
                    <a:pt x="286791" y="241020"/>
                  </a:lnTo>
                  <a:close/>
                </a:path>
                <a:path w="2171700" h="2899410">
                  <a:moveTo>
                    <a:pt x="429069" y="151599"/>
                  </a:moveTo>
                  <a:lnTo>
                    <a:pt x="428625" y="149059"/>
                  </a:lnTo>
                  <a:lnTo>
                    <a:pt x="418719" y="131826"/>
                  </a:lnTo>
                  <a:lnTo>
                    <a:pt x="418719" y="171005"/>
                  </a:lnTo>
                  <a:lnTo>
                    <a:pt x="418719" y="241020"/>
                  </a:lnTo>
                  <a:lnTo>
                    <a:pt x="417106" y="249097"/>
                  </a:lnTo>
                  <a:lnTo>
                    <a:pt x="412699" y="255663"/>
                  </a:lnTo>
                  <a:lnTo>
                    <a:pt x="406133" y="260070"/>
                  </a:lnTo>
                  <a:lnTo>
                    <a:pt x="398068" y="261683"/>
                  </a:lnTo>
                  <a:lnTo>
                    <a:pt x="398068" y="157238"/>
                  </a:lnTo>
                  <a:lnTo>
                    <a:pt x="384302" y="157238"/>
                  </a:lnTo>
                  <a:lnTo>
                    <a:pt x="384302" y="408584"/>
                  </a:lnTo>
                  <a:lnTo>
                    <a:pt x="377418" y="414324"/>
                  </a:lnTo>
                  <a:lnTo>
                    <a:pt x="362496" y="414324"/>
                  </a:lnTo>
                  <a:lnTo>
                    <a:pt x="356768" y="408584"/>
                  </a:lnTo>
                  <a:lnTo>
                    <a:pt x="356768" y="232994"/>
                  </a:lnTo>
                  <a:lnTo>
                    <a:pt x="343001" y="232994"/>
                  </a:lnTo>
                  <a:lnTo>
                    <a:pt x="343001" y="408584"/>
                  </a:lnTo>
                  <a:lnTo>
                    <a:pt x="336118" y="414324"/>
                  </a:lnTo>
                  <a:lnTo>
                    <a:pt x="321195" y="414324"/>
                  </a:lnTo>
                  <a:lnTo>
                    <a:pt x="314325" y="408584"/>
                  </a:lnTo>
                  <a:lnTo>
                    <a:pt x="314325" y="366128"/>
                  </a:lnTo>
                  <a:lnTo>
                    <a:pt x="314325" y="309880"/>
                  </a:lnTo>
                  <a:lnTo>
                    <a:pt x="314325" y="164122"/>
                  </a:lnTo>
                  <a:lnTo>
                    <a:pt x="312940" y="157238"/>
                  </a:lnTo>
                  <a:lnTo>
                    <a:pt x="312712" y="156057"/>
                  </a:lnTo>
                  <a:lnTo>
                    <a:pt x="308305" y="149491"/>
                  </a:lnTo>
                  <a:lnTo>
                    <a:pt x="301739" y="145072"/>
                  </a:lnTo>
                  <a:lnTo>
                    <a:pt x="293674" y="143459"/>
                  </a:lnTo>
                  <a:lnTo>
                    <a:pt x="209931" y="143459"/>
                  </a:lnTo>
                  <a:lnTo>
                    <a:pt x="209931" y="121666"/>
                  </a:lnTo>
                  <a:lnTo>
                    <a:pt x="333819" y="121666"/>
                  </a:lnTo>
                  <a:lnTo>
                    <a:pt x="328091" y="187071"/>
                  </a:lnTo>
                  <a:lnTo>
                    <a:pt x="349885" y="208889"/>
                  </a:lnTo>
                  <a:lnTo>
                    <a:pt x="368350" y="189382"/>
                  </a:lnTo>
                  <a:lnTo>
                    <a:pt x="370535" y="187071"/>
                  </a:lnTo>
                  <a:lnTo>
                    <a:pt x="364807" y="121666"/>
                  </a:lnTo>
                  <a:lnTo>
                    <a:pt x="370535" y="121666"/>
                  </a:lnTo>
                  <a:lnTo>
                    <a:pt x="389191" y="125501"/>
                  </a:lnTo>
                  <a:lnTo>
                    <a:pt x="404520" y="136004"/>
                  </a:lnTo>
                  <a:lnTo>
                    <a:pt x="414896" y="151676"/>
                  </a:lnTo>
                  <a:lnTo>
                    <a:pt x="418719" y="171005"/>
                  </a:lnTo>
                  <a:lnTo>
                    <a:pt x="418719" y="131826"/>
                  </a:lnTo>
                  <a:lnTo>
                    <a:pt x="417995" y="130556"/>
                  </a:lnTo>
                  <a:lnTo>
                    <a:pt x="407670" y="121666"/>
                  </a:lnTo>
                  <a:lnTo>
                    <a:pt x="401993" y="116776"/>
                  </a:lnTo>
                  <a:lnTo>
                    <a:pt x="382016" y="109029"/>
                  </a:lnTo>
                  <a:lnTo>
                    <a:pt x="383057" y="107886"/>
                  </a:lnTo>
                  <a:lnTo>
                    <a:pt x="388874" y="101536"/>
                  </a:lnTo>
                  <a:lnTo>
                    <a:pt x="393903" y="92964"/>
                  </a:lnTo>
                  <a:lnTo>
                    <a:pt x="397014" y="83527"/>
                  </a:lnTo>
                  <a:lnTo>
                    <a:pt x="398068" y="73444"/>
                  </a:lnTo>
                  <a:lnTo>
                    <a:pt x="394246" y="54127"/>
                  </a:lnTo>
                  <a:lnTo>
                    <a:pt x="384302" y="39116"/>
                  </a:lnTo>
                  <a:lnTo>
                    <a:pt x="384302" y="73444"/>
                  </a:lnTo>
                  <a:lnTo>
                    <a:pt x="381508" y="87071"/>
                  </a:lnTo>
                  <a:lnTo>
                    <a:pt x="373976" y="97993"/>
                  </a:lnTo>
                  <a:lnTo>
                    <a:pt x="363004" y="105257"/>
                  </a:lnTo>
                  <a:lnTo>
                    <a:pt x="355625" y="106743"/>
                  </a:lnTo>
                  <a:lnTo>
                    <a:pt x="355625" y="182486"/>
                  </a:lnTo>
                  <a:lnTo>
                    <a:pt x="349885" y="189382"/>
                  </a:lnTo>
                  <a:lnTo>
                    <a:pt x="343001" y="182486"/>
                  </a:lnTo>
                  <a:lnTo>
                    <a:pt x="347586" y="121666"/>
                  </a:lnTo>
                  <a:lnTo>
                    <a:pt x="351040" y="121666"/>
                  </a:lnTo>
                  <a:lnTo>
                    <a:pt x="355625" y="182486"/>
                  </a:lnTo>
                  <a:lnTo>
                    <a:pt x="355625" y="106743"/>
                  </a:lnTo>
                  <a:lnTo>
                    <a:pt x="317131" y="87058"/>
                  </a:lnTo>
                  <a:lnTo>
                    <a:pt x="314325" y="73444"/>
                  </a:lnTo>
                  <a:lnTo>
                    <a:pt x="317131" y="59664"/>
                  </a:lnTo>
                  <a:lnTo>
                    <a:pt x="324789" y="48348"/>
                  </a:lnTo>
                  <a:lnTo>
                    <a:pt x="336092" y="40690"/>
                  </a:lnTo>
                  <a:lnTo>
                    <a:pt x="349885" y="37871"/>
                  </a:lnTo>
                  <a:lnTo>
                    <a:pt x="363004" y="40690"/>
                  </a:lnTo>
                  <a:lnTo>
                    <a:pt x="373976" y="48348"/>
                  </a:lnTo>
                  <a:lnTo>
                    <a:pt x="381508" y="59664"/>
                  </a:lnTo>
                  <a:lnTo>
                    <a:pt x="384302" y="73444"/>
                  </a:lnTo>
                  <a:lnTo>
                    <a:pt x="384302" y="39116"/>
                  </a:lnTo>
                  <a:lnTo>
                    <a:pt x="383870" y="38455"/>
                  </a:lnTo>
                  <a:lnTo>
                    <a:pt x="383032" y="37871"/>
                  </a:lnTo>
                  <a:lnTo>
                    <a:pt x="368541" y="27940"/>
                  </a:lnTo>
                  <a:lnTo>
                    <a:pt x="349885" y="24104"/>
                  </a:lnTo>
                  <a:lnTo>
                    <a:pt x="330568" y="27940"/>
                  </a:lnTo>
                  <a:lnTo>
                    <a:pt x="314896" y="38455"/>
                  </a:lnTo>
                  <a:lnTo>
                    <a:pt x="304393" y="54127"/>
                  </a:lnTo>
                  <a:lnTo>
                    <a:pt x="300558" y="73444"/>
                  </a:lnTo>
                  <a:lnTo>
                    <a:pt x="301599" y="83350"/>
                  </a:lnTo>
                  <a:lnTo>
                    <a:pt x="304571" y="92392"/>
                  </a:lnTo>
                  <a:lnTo>
                    <a:pt x="309270" y="100571"/>
                  </a:lnTo>
                  <a:lnTo>
                    <a:pt x="315468" y="107886"/>
                  </a:lnTo>
                  <a:lnTo>
                    <a:pt x="209931" y="107886"/>
                  </a:lnTo>
                  <a:lnTo>
                    <a:pt x="209931" y="96405"/>
                  </a:lnTo>
                  <a:lnTo>
                    <a:pt x="209969" y="92964"/>
                  </a:lnTo>
                  <a:lnTo>
                    <a:pt x="219100" y="90678"/>
                  </a:lnTo>
                  <a:lnTo>
                    <a:pt x="226809" y="87058"/>
                  </a:lnTo>
                  <a:lnTo>
                    <a:pt x="232587" y="81635"/>
                  </a:lnTo>
                  <a:lnTo>
                    <a:pt x="232664" y="81483"/>
                  </a:lnTo>
                  <a:lnTo>
                    <a:pt x="236207" y="74688"/>
                  </a:lnTo>
                  <a:lnTo>
                    <a:pt x="237464" y="66573"/>
                  </a:lnTo>
                  <a:lnTo>
                    <a:pt x="236207" y="58280"/>
                  </a:lnTo>
                  <a:lnTo>
                    <a:pt x="232587" y="51066"/>
                  </a:lnTo>
                  <a:lnTo>
                    <a:pt x="231990" y="50507"/>
                  </a:lnTo>
                  <a:lnTo>
                    <a:pt x="226809" y="45580"/>
                  </a:lnTo>
                  <a:lnTo>
                    <a:pt x="223697" y="44323"/>
                  </a:lnTo>
                  <a:lnTo>
                    <a:pt x="223697" y="60833"/>
                  </a:lnTo>
                  <a:lnTo>
                    <a:pt x="223697" y="71158"/>
                  </a:lnTo>
                  <a:lnTo>
                    <a:pt x="220243" y="75755"/>
                  </a:lnTo>
                  <a:lnTo>
                    <a:pt x="215658" y="76898"/>
                  </a:lnTo>
                  <a:lnTo>
                    <a:pt x="196164" y="81483"/>
                  </a:lnTo>
                  <a:lnTo>
                    <a:pt x="196164" y="96405"/>
                  </a:lnTo>
                  <a:lnTo>
                    <a:pt x="196164" y="164122"/>
                  </a:lnTo>
                  <a:lnTo>
                    <a:pt x="190423" y="171005"/>
                  </a:lnTo>
                  <a:lnTo>
                    <a:pt x="174358" y="171005"/>
                  </a:lnTo>
                  <a:lnTo>
                    <a:pt x="168630" y="164122"/>
                  </a:lnTo>
                  <a:lnTo>
                    <a:pt x="168630" y="106743"/>
                  </a:lnTo>
                  <a:lnTo>
                    <a:pt x="168630" y="105600"/>
                  </a:lnTo>
                  <a:lnTo>
                    <a:pt x="168630" y="103301"/>
                  </a:lnTo>
                  <a:lnTo>
                    <a:pt x="196164" y="96405"/>
                  </a:lnTo>
                  <a:lnTo>
                    <a:pt x="196164" y="81483"/>
                  </a:lnTo>
                  <a:lnTo>
                    <a:pt x="196164" y="50507"/>
                  </a:lnTo>
                  <a:lnTo>
                    <a:pt x="215658" y="56235"/>
                  </a:lnTo>
                  <a:lnTo>
                    <a:pt x="220243" y="57378"/>
                  </a:lnTo>
                  <a:lnTo>
                    <a:pt x="223697" y="60833"/>
                  </a:lnTo>
                  <a:lnTo>
                    <a:pt x="223697" y="44323"/>
                  </a:lnTo>
                  <a:lnTo>
                    <a:pt x="219100" y="42456"/>
                  </a:lnTo>
                  <a:lnTo>
                    <a:pt x="182397" y="33108"/>
                  </a:lnTo>
                  <a:lnTo>
                    <a:pt x="182397" y="47066"/>
                  </a:lnTo>
                  <a:lnTo>
                    <a:pt x="182397" y="84924"/>
                  </a:lnTo>
                  <a:lnTo>
                    <a:pt x="98653" y="105600"/>
                  </a:lnTo>
                  <a:lnTo>
                    <a:pt x="98653" y="26390"/>
                  </a:lnTo>
                  <a:lnTo>
                    <a:pt x="182397" y="47066"/>
                  </a:lnTo>
                  <a:lnTo>
                    <a:pt x="182397" y="33108"/>
                  </a:lnTo>
                  <a:lnTo>
                    <a:pt x="156057" y="26390"/>
                  </a:lnTo>
                  <a:lnTo>
                    <a:pt x="97510" y="11480"/>
                  </a:lnTo>
                  <a:lnTo>
                    <a:pt x="97180" y="10325"/>
                  </a:lnTo>
                  <a:lnTo>
                    <a:pt x="95211" y="3454"/>
                  </a:lnTo>
                  <a:lnTo>
                    <a:pt x="90385" y="0"/>
                  </a:lnTo>
                  <a:lnTo>
                    <a:pt x="84886" y="0"/>
                  </a:lnTo>
                  <a:lnTo>
                    <a:pt x="84886" y="13766"/>
                  </a:lnTo>
                  <a:lnTo>
                    <a:pt x="84886" y="119367"/>
                  </a:lnTo>
                  <a:lnTo>
                    <a:pt x="81445" y="121666"/>
                  </a:lnTo>
                  <a:lnTo>
                    <a:pt x="73418" y="121666"/>
                  </a:lnTo>
                  <a:lnTo>
                    <a:pt x="71120" y="119367"/>
                  </a:lnTo>
                  <a:lnTo>
                    <a:pt x="71120" y="13766"/>
                  </a:lnTo>
                  <a:lnTo>
                    <a:pt x="73418" y="10325"/>
                  </a:lnTo>
                  <a:lnTo>
                    <a:pt x="81445" y="10325"/>
                  </a:lnTo>
                  <a:lnTo>
                    <a:pt x="84886" y="13766"/>
                  </a:lnTo>
                  <a:lnTo>
                    <a:pt x="84886" y="0"/>
                  </a:lnTo>
                  <a:lnTo>
                    <a:pt x="68541" y="0"/>
                  </a:lnTo>
                  <a:lnTo>
                    <a:pt x="63373" y="3162"/>
                  </a:lnTo>
                  <a:lnTo>
                    <a:pt x="58966" y="9334"/>
                  </a:lnTo>
                  <a:lnTo>
                    <a:pt x="57353" y="17221"/>
                  </a:lnTo>
                  <a:lnTo>
                    <a:pt x="57353" y="114769"/>
                  </a:lnTo>
                  <a:lnTo>
                    <a:pt x="58966" y="122834"/>
                  </a:lnTo>
                  <a:lnTo>
                    <a:pt x="63373" y="129400"/>
                  </a:lnTo>
                  <a:lnTo>
                    <a:pt x="69938" y="133819"/>
                  </a:lnTo>
                  <a:lnTo>
                    <a:pt x="78003" y="135432"/>
                  </a:lnTo>
                  <a:lnTo>
                    <a:pt x="87185" y="135432"/>
                  </a:lnTo>
                  <a:lnTo>
                    <a:pt x="95211" y="129692"/>
                  </a:lnTo>
                  <a:lnTo>
                    <a:pt x="97218" y="121666"/>
                  </a:lnTo>
                  <a:lnTo>
                    <a:pt x="97510" y="120510"/>
                  </a:lnTo>
                  <a:lnTo>
                    <a:pt x="154863" y="106743"/>
                  </a:lnTo>
                  <a:lnTo>
                    <a:pt x="154863" y="157238"/>
                  </a:lnTo>
                  <a:lnTo>
                    <a:pt x="156908" y="167830"/>
                  </a:lnTo>
                  <a:lnTo>
                    <a:pt x="162610" y="176606"/>
                  </a:lnTo>
                  <a:lnTo>
                    <a:pt x="171323" y="182575"/>
                  </a:lnTo>
                  <a:lnTo>
                    <a:pt x="182397" y="184785"/>
                  </a:lnTo>
                  <a:lnTo>
                    <a:pt x="192989" y="182575"/>
                  </a:lnTo>
                  <a:lnTo>
                    <a:pt x="201764" y="176606"/>
                  </a:lnTo>
                  <a:lnTo>
                    <a:pt x="205562" y="171005"/>
                  </a:lnTo>
                  <a:lnTo>
                    <a:pt x="207733" y="167830"/>
                  </a:lnTo>
                  <a:lnTo>
                    <a:pt x="209931" y="157238"/>
                  </a:lnTo>
                  <a:lnTo>
                    <a:pt x="297116" y="157238"/>
                  </a:lnTo>
                  <a:lnTo>
                    <a:pt x="300558" y="159524"/>
                  </a:lnTo>
                  <a:lnTo>
                    <a:pt x="300558" y="309880"/>
                  </a:lnTo>
                  <a:lnTo>
                    <a:pt x="300558" y="323659"/>
                  </a:lnTo>
                  <a:lnTo>
                    <a:pt x="300558" y="352348"/>
                  </a:lnTo>
                  <a:lnTo>
                    <a:pt x="133070" y="352348"/>
                  </a:lnTo>
                  <a:lnTo>
                    <a:pt x="133070" y="368414"/>
                  </a:lnTo>
                  <a:lnTo>
                    <a:pt x="72263" y="338582"/>
                  </a:lnTo>
                  <a:lnTo>
                    <a:pt x="133070" y="307594"/>
                  </a:lnTo>
                  <a:lnTo>
                    <a:pt x="133070" y="323659"/>
                  </a:lnTo>
                  <a:lnTo>
                    <a:pt x="300558" y="323659"/>
                  </a:lnTo>
                  <a:lnTo>
                    <a:pt x="300558" y="309880"/>
                  </a:lnTo>
                  <a:lnTo>
                    <a:pt x="146837" y="309880"/>
                  </a:lnTo>
                  <a:lnTo>
                    <a:pt x="146837" y="307594"/>
                  </a:lnTo>
                  <a:lnTo>
                    <a:pt x="146837" y="284632"/>
                  </a:lnTo>
                  <a:lnTo>
                    <a:pt x="41287" y="338582"/>
                  </a:lnTo>
                  <a:lnTo>
                    <a:pt x="146837" y="391375"/>
                  </a:lnTo>
                  <a:lnTo>
                    <a:pt x="146837" y="368414"/>
                  </a:lnTo>
                  <a:lnTo>
                    <a:pt x="146837" y="366128"/>
                  </a:lnTo>
                  <a:lnTo>
                    <a:pt x="300558" y="366128"/>
                  </a:lnTo>
                  <a:lnTo>
                    <a:pt x="300558" y="400558"/>
                  </a:lnTo>
                  <a:lnTo>
                    <a:pt x="302768" y="411632"/>
                  </a:lnTo>
                  <a:lnTo>
                    <a:pt x="308737" y="420357"/>
                  </a:lnTo>
                  <a:lnTo>
                    <a:pt x="317500" y="426059"/>
                  </a:lnTo>
                  <a:lnTo>
                    <a:pt x="328091" y="428104"/>
                  </a:lnTo>
                  <a:lnTo>
                    <a:pt x="337273" y="428104"/>
                  </a:lnTo>
                  <a:lnTo>
                    <a:pt x="344144" y="424662"/>
                  </a:lnTo>
                  <a:lnTo>
                    <a:pt x="349885" y="418922"/>
                  </a:lnTo>
                  <a:lnTo>
                    <a:pt x="354482" y="424662"/>
                  </a:lnTo>
                  <a:lnTo>
                    <a:pt x="362496" y="428104"/>
                  </a:lnTo>
                  <a:lnTo>
                    <a:pt x="370535" y="428104"/>
                  </a:lnTo>
                  <a:lnTo>
                    <a:pt x="381127" y="426059"/>
                  </a:lnTo>
                  <a:lnTo>
                    <a:pt x="389890" y="420357"/>
                  </a:lnTo>
                  <a:lnTo>
                    <a:pt x="390880" y="418922"/>
                  </a:lnTo>
                  <a:lnTo>
                    <a:pt x="394017" y="414324"/>
                  </a:lnTo>
                  <a:lnTo>
                    <a:pt x="395871" y="411632"/>
                  </a:lnTo>
                  <a:lnTo>
                    <a:pt x="398068" y="400558"/>
                  </a:lnTo>
                  <a:lnTo>
                    <a:pt x="398068" y="275463"/>
                  </a:lnTo>
                  <a:lnTo>
                    <a:pt x="411670" y="272656"/>
                  </a:lnTo>
                  <a:lnTo>
                    <a:pt x="422592" y="265125"/>
                  </a:lnTo>
                  <a:lnTo>
                    <a:pt x="424853" y="261683"/>
                  </a:lnTo>
                  <a:lnTo>
                    <a:pt x="429069" y="255320"/>
                  </a:lnTo>
                  <a:lnTo>
                    <a:pt x="429069" y="151599"/>
                  </a:lnTo>
                  <a:close/>
                </a:path>
                <a:path w="2171700" h="2899410">
                  <a:moveTo>
                    <a:pt x="1827047" y="2880880"/>
                  </a:moveTo>
                  <a:lnTo>
                    <a:pt x="1823694" y="2877439"/>
                  </a:lnTo>
                  <a:lnTo>
                    <a:pt x="1819224" y="2877439"/>
                  </a:lnTo>
                  <a:lnTo>
                    <a:pt x="1809165" y="2877439"/>
                  </a:lnTo>
                  <a:lnTo>
                    <a:pt x="1805813" y="2880880"/>
                  </a:lnTo>
                  <a:lnTo>
                    <a:pt x="1805813" y="2895828"/>
                  </a:lnTo>
                  <a:lnTo>
                    <a:pt x="1809165" y="2899283"/>
                  </a:lnTo>
                  <a:lnTo>
                    <a:pt x="1823694" y="2899283"/>
                  </a:lnTo>
                  <a:lnTo>
                    <a:pt x="1827047" y="2895828"/>
                  </a:lnTo>
                  <a:lnTo>
                    <a:pt x="1827047" y="2880880"/>
                  </a:lnTo>
                  <a:close/>
                </a:path>
                <a:path w="2171700" h="2899410">
                  <a:moveTo>
                    <a:pt x="1827047" y="2852140"/>
                  </a:moveTo>
                  <a:lnTo>
                    <a:pt x="1823694" y="2848686"/>
                  </a:lnTo>
                  <a:lnTo>
                    <a:pt x="1819224" y="2848686"/>
                  </a:lnTo>
                  <a:lnTo>
                    <a:pt x="1809165" y="2848686"/>
                  </a:lnTo>
                  <a:lnTo>
                    <a:pt x="1805813" y="2852140"/>
                  </a:lnTo>
                  <a:lnTo>
                    <a:pt x="1805813" y="2867088"/>
                  </a:lnTo>
                  <a:lnTo>
                    <a:pt x="1809165" y="2870543"/>
                  </a:lnTo>
                  <a:lnTo>
                    <a:pt x="1823694" y="2870543"/>
                  </a:lnTo>
                  <a:lnTo>
                    <a:pt x="1827047" y="2867088"/>
                  </a:lnTo>
                  <a:lnTo>
                    <a:pt x="1827047" y="2852140"/>
                  </a:lnTo>
                  <a:close/>
                </a:path>
                <a:path w="2171700" h="2899410">
                  <a:moveTo>
                    <a:pt x="1827047" y="2823400"/>
                  </a:moveTo>
                  <a:lnTo>
                    <a:pt x="1823694" y="2819946"/>
                  </a:lnTo>
                  <a:lnTo>
                    <a:pt x="1819224" y="2819946"/>
                  </a:lnTo>
                  <a:lnTo>
                    <a:pt x="1809165" y="2819946"/>
                  </a:lnTo>
                  <a:lnTo>
                    <a:pt x="1805813" y="2823400"/>
                  </a:lnTo>
                  <a:lnTo>
                    <a:pt x="1805813" y="2838348"/>
                  </a:lnTo>
                  <a:lnTo>
                    <a:pt x="1809165" y="2841790"/>
                  </a:lnTo>
                  <a:lnTo>
                    <a:pt x="1823694" y="2841790"/>
                  </a:lnTo>
                  <a:lnTo>
                    <a:pt x="1827047" y="2838348"/>
                  </a:lnTo>
                  <a:lnTo>
                    <a:pt x="1827047" y="2823400"/>
                  </a:lnTo>
                  <a:close/>
                </a:path>
                <a:path w="2171700" h="2899410">
                  <a:moveTo>
                    <a:pt x="1827047" y="2793504"/>
                  </a:moveTo>
                  <a:lnTo>
                    <a:pt x="1823694" y="2791206"/>
                  </a:lnTo>
                  <a:lnTo>
                    <a:pt x="1819224" y="2791206"/>
                  </a:lnTo>
                  <a:lnTo>
                    <a:pt x="1809165" y="2791206"/>
                  </a:lnTo>
                  <a:lnTo>
                    <a:pt x="1805813" y="2793504"/>
                  </a:lnTo>
                  <a:lnTo>
                    <a:pt x="1805813" y="2809595"/>
                  </a:lnTo>
                  <a:lnTo>
                    <a:pt x="1809165" y="2811894"/>
                  </a:lnTo>
                  <a:lnTo>
                    <a:pt x="1823694" y="2811894"/>
                  </a:lnTo>
                  <a:lnTo>
                    <a:pt x="1827047" y="2809595"/>
                  </a:lnTo>
                  <a:lnTo>
                    <a:pt x="1827047" y="2793504"/>
                  </a:lnTo>
                  <a:close/>
                </a:path>
                <a:path w="2171700" h="2899410">
                  <a:moveTo>
                    <a:pt x="1827047" y="2764764"/>
                  </a:moveTo>
                  <a:lnTo>
                    <a:pt x="1823694" y="2761310"/>
                  </a:lnTo>
                  <a:lnTo>
                    <a:pt x="1819224" y="2761310"/>
                  </a:lnTo>
                  <a:lnTo>
                    <a:pt x="1809165" y="2761310"/>
                  </a:lnTo>
                  <a:lnTo>
                    <a:pt x="1805813" y="2764764"/>
                  </a:lnTo>
                  <a:lnTo>
                    <a:pt x="1805813" y="2779712"/>
                  </a:lnTo>
                  <a:lnTo>
                    <a:pt x="1809165" y="2783154"/>
                  </a:lnTo>
                  <a:lnTo>
                    <a:pt x="1823694" y="2783154"/>
                  </a:lnTo>
                  <a:lnTo>
                    <a:pt x="1827047" y="2779712"/>
                  </a:lnTo>
                  <a:lnTo>
                    <a:pt x="1827047" y="2764764"/>
                  </a:lnTo>
                  <a:close/>
                </a:path>
                <a:path w="2171700" h="2899410">
                  <a:moveTo>
                    <a:pt x="1827047" y="2736011"/>
                  </a:moveTo>
                  <a:lnTo>
                    <a:pt x="1823694" y="2732570"/>
                  </a:lnTo>
                  <a:lnTo>
                    <a:pt x="1819224" y="2732570"/>
                  </a:lnTo>
                  <a:lnTo>
                    <a:pt x="1809165" y="2732570"/>
                  </a:lnTo>
                  <a:lnTo>
                    <a:pt x="1805813" y="2736011"/>
                  </a:lnTo>
                  <a:lnTo>
                    <a:pt x="1805813" y="2750972"/>
                  </a:lnTo>
                  <a:lnTo>
                    <a:pt x="1809165" y="2754414"/>
                  </a:lnTo>
                  <a:lnTo>
                    <a:pt x="1823694" y="2754414"/>
                  </a:lnTo>
                  <a:lnTo>
                    <a:pt x="1827047" y="2750972"/>
                  </a:lnTo>
                  <a:lnTo>
                    <a:pt x="1827047" y="2736011"/>
                  </a:lnTo>
                  <a:close/>
                </a:path>
                <a:path w="2171700" h="2899410">
                  <a:moveTo>
                    <a:pt x="1827047" y="2707259"/>
                  </a:moveTo>
                  <a:lnTo>
                    <a:pt x="1823694" y="2703817"/>
                  </a:lnTo>
                  <a:lnTo>
                    <a:pt x="1819224" y="2703817"/>
                  </a:lnTo>
                  <a:lnTo>
                    <a:pt x="1809165" y="2703817"/>
                  </a:lnTo>
                  <a:lnTo>
                    <a:pt x="1805813" y="2707259"/>
                  </a:lnTo>
                  <a:lnTo>
                    <a:pt x="1805813" y="2722207"/>
                  </a:lnTo>
                  <a:lnTo>
                    <a:pt x="1809165" y="2725661"/>
                  </a:lnTo>
                  <a:lnTo>
                    <a:pt x="1823694" y="2725661"/>
                  </a:lnTo>
                  <a:lnTo>
                    <a:pt x="1827047" y="2722207"/>
                  </a:lnTo>
                  <a:lnTo>
                    <a:pt x="1827047" y="2707259"/>
                  </a:lnTo>
                  <a:close/>
                </a:path>
                <a:path w="2171700" h="2899410">
                  <a:moveTo>
                    <a:pt x="1827047" y="2678519"/>
                  </a:moveTo>
                  <a:lnTo>
                    <a:pt x="1823694" y="2675077"/>
                  </a:lnTo>
                  <a:lnTo>
                    <a:pt x="1819224" y="2675077"/>
                  </a:lnTo>
                  <a:lnTo>
                    <a:pt x="1809165" y="2675077"/>
                  </a:lnTo>
                  <a:lnTo>
                    <a:pt x="1805813" y="2678519"/>
                  </a:lnTo>
                  <a:lnTo>
                    <a:pt x="1805813" y="2693466"/>
                  </a:lnTo>
                  <a:lnTo>
                    <a:pt x="1809165" y="2696921"/>
                  </a:lnTo>
                  <a:lnTo>
                    <a:pt x="1823694" y="2696921"/>
                  </a:lnTo>
                  <a:lnTo>
                    <a:pt x="1827047" y="2693466"/>
                  </a:lnTo>
                  <a:lnTo>
                    <a:pt x="1827047" y="2678519"/>
                  </a:lnTo>
                  <a:close/>
                </a:path>
                <a:path w="2171700" h="2899410">
                  <a:moveTo>
                    <a:pt x="1827047" y="2648635"/>
                  </a:moveTo>
                  <a:lnTo>
                    <a:pt x="1823694" y="2646337"/>
                  </a:lnTo>
                  <a:lnTo>
                    <a:pt x="1819224" y="2646337"/>
                  </a:lnTo>
                  <a:lnTo>
                    <a:pt x="1809165" y="2646337"/>
                  </a:lnTo>
                  <a:lnTo>
                    <a:pt x="1805813" y="2648635"/>
                  </a:lnTo>
                  <a:lnTo>
                    <a:pt x="1805813" y="2664726"/>
                  </a:lnTo>
                  <a:lnTo>
                    <a:pt x="1809165" y="2667038"/>
                  </a:lnTo>
                  <a:lnTo>
                    <a:pt x="1823694" y="2667038"/>
                  </a:lnTo>
                  <a:lnTo>
                    <a:pt x="1827047" y="2664726"/>
                  </a:lnTo>
                  <a:lnTo>
                    <a:pt x="1827047" y="2648635"/>
                  </a:lnTo>
                  <a:close/>
                </a:path>
                <a:path w="2171700" h="2899410">
                  <a:moveTo>
                    <a:pt x="1855000" y="2880880"/>
                  </a:moveTo>
                  <a:lnTo>
                    <a:pt x="1851647" y="2877439"/>
                  </a:lnTo>
                  <a:lnTo>
                    <a:pt x="1847176" y="2877439"/>
                  </a:lnTo>
                  <a:lnTo>
                    <a:pt x="1837118" y="2877439"/>
                  </a:lnTo>
                  <a:lnTo>
                    <a:pt x="1833765" y="2880880"/>
                  </a:lnTo>
                  <a:lnTo>
                    <a:pt x="1833765" y="2895828"/>
                  </a:lnTo>
                  <a:lnTo>
                    <a:pt x="1837118" y="2899283"/>
                  </a:lnTo>
                  <a:lnTo>
                    <a:pt x="1851647" y="2899283"/>
                  </a:lnTo>
                  <a:lnTo>
                    <a:pt x="1855000" y="2895828"/>
                  </a:lnTo>
                  <a:lnTo>
                    <a:pt x="1855000" y="2880880"/>
                  </a:lnTo>
                  <a:close/>
                </a:path>
                <a:path w="2171700" h="2899410">
                  <a:moveTo>
                    <a:pt x="1855000" y="2852140"/>
                  </a:moveTo>
                  <a:lnTo>
                    <a:pt x="1851647" y="2848686"/>
                  </a:lnTo>
                  <a:lnTo>
                    <a:pt x="1847176" y="2848686"/>
                  </a:lnTo>
                  <a:lnTo>
                    <a:pt x="1837118" y="2848686"/>
                  </a:lnTo>
                  <a:lnTo>
                    <a:pt x="1833765" y="2852140"/>
                  </a:lnTo>
                  <a:lnTo>
                    <a:pt x="1833765" y="2867088"/>
                  </a:lnTo>
                  <a:lnTo>
                    <a:pt x="1837118" y="2870543"/>
                  </a:lnTo>
                  <a:lnTo>
                    <a:pt x="1851647" y="2870543"/>
                  </a:lnTo>
                  <a:lnTo>
                    <a:pt x="1855000" y="2867088"/>
                  </a:lnTo>
                  <a:lnTo>
                    <a:pt x="1855000" y="2852140"/>
                  </a:lnTo>
                  <a:close/>
                </a:path>
                <a:path w="2171700" h="2899410">
                  <a:moveTo>
                    <a:pt x="1855000" y="2823400"/>
                  </a:moveTo>
                  <a:lnTo>
                    <a:pt x="1851647" y="2819946"/>
                  </a:lnTo>
                  <a:lnTo>
                    <a:pt x="1847176" y="2819946"/>
                  </a:lnTo>
                  <a:lnTo>
                    <a:pt x="1837118" y="2819946"/>
                  </a:lnTo>
                  <a:lnTo>
                    <a:pt x="1833765" y="2823400"/>
                  </a:lnTo>
                  <a:lnTo>
                    <a:pt x="1833765" y="2838348"/>
                  </a:lnTo>
                  <a:lnTo>
                    <a:pt x="1837118" y="2841790"/>
                  </a:lnTo>
                  <a:lnTo>
                    <a:pt x="1851647" y="2841790"/>
                  </a:lnTo>
                  <a:lnTo>
                    <a:pt x="1855000" y="2838348"/>
                  </a:lnTo>
                  <a:lnTo>
                    <a:pt x="1855000" y="2823400"/>
                  </a:lnTo>
                  <a:close/>
                </a:path>
                <a:path w="2171700" h="2899410">
                  <a:moveTo>
                    <a:pt x="1855000" y="2793504"/>
                  </a:moveTo>
                  <a:lnTo>
                    <a:pt x="1851647" y="2791206"/>
                  </a:lnTo>
                  <a:lnTo>
                    <a:pt x="1847176" y="2791206"/>
                  </a:lnTo>
                  <a:lnTo>
                    <a:pt x="1837118" y="2791206"/>
                  </a:lnTo>
                  <a:lnTo>
                    <a:pt x="1833765" y="2793504"/>
                  </a:lnTo>
                  <a:lnTo>
                    <a:pt x="1833765" y="2809595"/>
                  </a:lnTo>
                  <a:lnTo>
                    <a:pt x="1837118" y="2811894"/>
                  </a:lnTo>
                  <a:lnTo>
                    <a:pt x="1851647" y="2811894"/>
                  </a:lnTo>
                  <a:lnTo>
                    <a:pt x="1855000" y="2809595"/>
                  </a:lnTo>
                  <a:lnTo>
                    <a:pt x="1855000" y="2793504"/>
                  </a:lnTo>
                  <a:close/>
                </a:path>
                <a:path w="2171700" h="2899410">
                  <a:moveTo>
                    <a:pt x="1855000" y="2764764"/>
                  </a:moveTo>
                  <a:lnTo>
                    <a:pt x="1851647" y="2761310"/>
                  </a:lnTo>
                  <a:lnTo>
                    <a:pt x="1847176" y="2761310"/>
                  </a:lnTo>
                  <a:lnTo>
                    <a:pt x="1837118" y="2761310"/>
                  </a:lnTo>
                  <a:lnTo>
                    <a:pt x="1833765" y="2764764"/>
                  </a:lnTo>
                  <a:lnTo>
                    <a:pt x="1833765" y="2779712"/>
                  </a:lnTo>
                  <a:lnTo>
                    <a:pt x="1837118" y="2783154"/>
                  </a:lnTo>
                  <a:lnTo>
                    <a:pt x="1851647" y="2783154"/>
                  </a:lnTo>
                  <a:lnTo>
                    <a:pt x="1855000" y="2779712"/>
                  </a:lnTo>
                  <a:lnTo>
                    <a:pt x="1855000" y="2764764"/>
                  </a:lnTo>
                  <a:close/>
                </a:path>
                <a:path w="2171700" h="2899410">
                  <a:moveTo>
                    <a:pt x="1855000" y="2736011"/>
                  </a:moveTo>
                  <a:lnTo>
                    <a:pt x="1851647" y="2732570"/>
                  </a:lnTo>
                  <a:lnTo>
                    <a:pt x="1847176" y="2732570"/>
                  </a:lnTo>
                  <a:lnTo>
                    <a:pt x="1837118" y="2732570"/>
                  </a:lnTo>
                  <a:lnTo>
                    <a:pt x="1833765" y="2736011"/>
                  </a:lnTo>
                  <a:lnTo>
                    <a:pt x="1833765" y="2750972"/>
                  </a:lnTo>
                  <a:lnTo>
                    <a:pt x="1837118" y="2754414"/>
                  </a:lnTo>
                  <a:lnTo>
                    <a:pt x="1851647" y="2754414"/>
                  </a:lnTo>
                  <a:lnTo>
                    <a:pt x="1855000" y="2750972"/>
                  </a:lnTo>
                  <a:lnTo>
                    <a:pt x="1855000" y="2736011"/>
                  </a:lnTo>
                  <a:close/>
                </a:path>
                <a:path w="2171700" h="2899410">
                  <a:moveTo>
                    <a:pt x="1855000" y="2707259"/>
                  </a:moveTo>
                  <a:lnTo>
                    <a:pt x="1851647" y="2703817"/>
                  </a:lnTo>
                  <a:lnTo>
                    <a:pt x="1847176" y="2703817"/>
                  </a:lnTo>
                  <a:lnTo>
                    <a:pt x="1837118" y="2703817"/>
                  </a:lnTo>
                  <a:lnTo>
                    <a:pt x="1833765" y="2707259"/>
                  </a:lnTo>
                  <a:lnTo>
                    <a:pt x="1833765" y="2722207"/>
                  </a:lnTo>
                  <a:lnTo>
                    <a:pt x="1837118" y="2725661"/>
                  </a:lnTo>
                  <a:lnTo>
                    <a:pt x="1851647" y="2725661"/>
                  </a:lnTo>
                  <a:lnTo>
                    <a:pt x="1855000" y="2722207"/>
                  </a:lnTo>
                  <a:lnTo>
                    <a:pt x="1855000" y="2707259"/>
                  </a:lnTo>
                  <a:close/>
                </a:path>
                <a:path w="2171700" h="2899410">
                  <a:moveTo>
                    <a:pt x="1855000" y="2678519"/>
                  </a:moveTo>
                  <a:lnTo>
                    <a:pt x="1851647" y="2675077"/>
                  </a:lnTo>
                  <a:lnTo>
                    <a:pt x="1847176" y="2675077"/>
                  </a:lnTo>
                  <a:lnTo>
                    <a:pt x="1837118" y="2675077"/>
                  </a:lnTo>
                  <a:lnTo>
                    <a:pt x="1833765" y="2678519"/>
                  </a:lnTo>
                  <a:lnTo>
                    <a:pt x="1833765" y="2693466"/>
                  </a:lnTo>
                  <a:lnTo>
                    <a:pt x="1837118" y="2696921"/>
                  </a:lnTo>
                  <a:lnTo>
                    <a:pt x="1851647" y="2696921"/>
                  </a:lnTo>
                  <a:lnTo>
                    <a:pt x="1855000" y="2693466"/>
                  </a:lnTo>
                  <a:lnTo>
                    <a:pt x="1855000" y="2678519"/>
                  </a:lnTo>
                  <a:close/>
                </a:path>
                <a:path w="2171700" h="2899410">
                  <a:moveTo>
                    <a:pt x="1855000" y="2648635"/>
                  </a:moveTo>
                  <a:lnTo>
                    <a:pt x="1851647" y="2646337"/>
                  </a:lnTo>
                  <a:lnTo>
                    <a:pt x="1847176" y="2646337"/>
                  </a:lnTo>
                  <a:lnTo>
                    <a:pt x="1837118" y="2646337"/>
                  </a:lnTo>
                  <a:lnTo>
                    <a:pt x="1833765" y="2648635"/>
                  </a:lnTo>
                  <a:lnTo>
                    <a:pt x="1833765" y="2664726"/>
                  </a:lnTo>
                  <a:lnTo>
                    <a:pt x="1837118" y="2667038"/>
                  </a:lnTo>
                  <a:lnTo>
                    <a:pt x="1851647" y="2667038"/>
                  </a:lnTo>
                  <a:lnTo>
                    <a:pt x="1855000" y="2664726"/>
                  </a:lnTo>
                  <a:lnTo>
                    <a:pt x="1855000" y="2648635"/>
                  </a:lnTo>
                  <a:close/>
                </a:path>
                <a:path w="2171700" h="2899410">
                  <a:moveTo>
                    <a:pt x="2171357" y="2837192"/>
                  </a:moveTo>
                  <a:lnTo>
                    <a:pt x="2168004" y="2833738"/>
                  </a:lnTo>
                  <a:lnTo>
                    <a:pt x="2157946" y="2833738"/>
                  </a:lnTo>
                  <a:lnTo>
                    <a:pt x="2157946" y="2848686"/>
                  </a:lnTo>
                  <a:lnTo>
                    <a:pt x="2157946" y="2863634"/>
                  </a:lnTo>
                  <a:lnTo>
                    <a:pt x="2143404" y="2863634"/>
                  </a:lnTo>
                  <a:lnTo>
                    <a:pt x="2143404" y="2848686"/>
                  </a:lnTo>
                  <a:lnTo>
                    <a:pt x="2157946" y="2848686"/>
                  </a:lnTo>
                  <a:lnTo>
                    <a:pt x="2157946" y="2833738"/>
                  </a:lnTo>
                  <a:lnTo>
                    <a:pt x="2132228" y="2833738"/>
                  </a:lnTo>
                  <a:lnTo>
                    <a:pt x="2128875" y="2837192"/>
                  </a:lnTo>
                  <a:lnTo>
                    <a:pt x="2128875" y="2873984"/>
                  </a:lnTo>
                  <a:lnTo>
                    <a:pt x="2132228" y="2877439"/>
                  </a:lnTo>
                  <a:lnTo>
                    <a:pt x="2168004" y="2877439"/>
                  </a:lnTo>
                  <a:lnTo>
                    <a:pt x="2171357" y="2873984"/>
                  </a:lnTo>
                  <a:lnTo>
                    <a:pt x="2171357" y="2863634"/>
                  </a:lnTo>
                  <a:lnTo>
                    <a:pt x="2171357" y="2848686"/>
                  </a:lnTo>
                  <a:lnTo>
                    <a:pt x="2171357" y="2837192"/>
                  </a:lnTo>
                  <a:close/>
                </a:path>
                <a:path w="2171700" h="2899410">
                  <a:moveTo>
                    <a:pt x="2171357" y="2779712"/>
                  </a:moveTo>
                  <a:lnTo>
                    <a:pt x="2168004" y="2776258"/>
                  </a:lnTo>
                  <a:lnTo>
                    <a:pt x="2157946" y="2776258"/>
                  </a:lnTo>
                  <a:lnTo>
                    <a:pt x="2157946" y="2791206"/>
                  </a:lnTo>
                  <a:lnTo>
                    <a:pt x="2157946" y="2804998"/>
                  </a:lnTo>
                  <a:lnTo>
                    <a:pt x="2143404" y="2804998"/>
                  </a:lnTo>
                  <a:lnTo>
                    <a:pt x="2143404" y="2791206"/>
                  </a:lnTo>
                  <a:lnTo>
                    <a:pt x="2157946" y="2791206"/>
                  </a:lnTo>
                  <a:lnTo>
                    <a:pt x="2157946" y="2776258"/>
                  </a:lnTo>
                  <a:lnTo>
                    <a:pt x="2132228" y="2776258"/>
                  </a:lnTo>
                  <a:lnTo>
                    <a:pt x="2128875" y="2779712"/>
                  </a:lnTo>
                  <a:lnTo>
                    <a:pt x="2128875" y="2816491"/>
                  </a:lnTo>
                  <a:lnTo>
                    <a:pt x="2132228" y="2819946"/>
                  </a:lnTo>
                  <a:lnTo>
                    <a:pt x="2168004" y="2819946"/>
                  </a:lnTo>
                  <a:lnTo>
                    <a:pt x="2171357" y="2816491"/>
                  </a:lnTo>
                  <a:lnTo>
                    <a:pt x="2171357" y="2804998"/>
                  </a:lnTo>
                  <a:lnTo>
                    <a:pt x="2171357" y="2791206"/>
                  </a:lnTo>
                  <a:lnTo>
                    <a:pt x="2171357" y="2779712"/>
                  </a:lnTo>
                  <a:close/>
                </a:path>
                <a:path w="2171700" h="2899410">
                  <a:moveTo>
                    <a:pt x="2171357" y="2721064"/>
                  </a:moveTo>
                  <a:lnTo>
                    <a:pt x="2168004" y="2718765"/>
                  </a:lnTo>
                  <a:lnTo>
                    <a:pt x="2157946" y="2718765"/>
                  </a:lnTo>
                  <a:lnTo>
                    <a:pt x="2157946" y="2732570"/>
                  </a:lnTo>
                  <a:lnTo>
                    <a:pt x="2157946" y="2747505"/>
                  </a:lnTo>
                  <a:lnTo>
                    <a:pt x="2143404" y="2747505"/>
                  </a:lnTo>
                  <a:lnTo>
                    <a:pt x="2143404" y="2732570"/>
                  </a:lnTo>
                  <a:lnTo>
                    <a:pt x="2157946" y="2732570"/>
                  </a:lnTo>
                  <a:lnTo>
                    <a:pt x="2157946" y="2718765"/>
                  </a:lnTo>
                  <a:lnTo>
                    <a:pt x="2132228" y="2718765"/>
                  </a:lnTo>
                  <a:lnTo>
                    <a:pt x="2128875" y="2721064"/>
                  </a:lnTo>
                  <a:lnTo>
                    <a:pt x="2128875" y="2759011"/>
                  </a:lnTo>
                  <a:lnTo>
                    <a:pt x="2132228" y="2761310"/>
                  </a:lnTo>
                  <a:lnTo>
                    <a:pt x="2168004" y="2761310"/>
                  </a:lnTo>
                  <a:lnTo>
                    <a:pt x="2171357" y="2759011"/>
                  </a:lnTo>
                  <a:lnTo>
                    <a:pt x="2171357" y="2747505"/>
                  </a:lnTo>
                  <a:lnTo>
                    <a:pt x="2171357" y="2732570"/>
                  </a:lnTo>
                  <a:lnTo>
                    <a:pt x="2171357" y="2721064"/>
                  </a:lnTo>
                  <a:close/>
                </a:path>
                <a:path w="2171700" h="2899410">
                  <a:moveTo>
                    <a:pt x="2171357" y="2663571"/>
                  </a:moveTo>
                  <a:lnTo>
                    <a:pt x="2168004" y="2660129"/>
                  </a:lnTo>
                  <a:lnTo>
                    <a:pt x="2157946" y="2660129"/>
                  </a:lnTo>
                  <a:lnTo>
                    <a:pt x="2157946" y="2675077"/>
                  </a:lnTo>
                  <a:lnTo>
                    <a:pt x="2157946" y="2688882"/>
                  </a:lnTo>
                  <a:lnTo>
                    <a:pt x="2143404" y="2688882"/>
                  </a:lnTo>
                  <a:lnTo>
                    <a:pt x="2143404" y="2675077"/>
                  </a:lnTo>
                  <a:lnTo>
                    <a:pt x="2157946" y="2675077"/>
                  </a:lnTo>
                  <a:lnTo>
                    <a:pt x="2157946" y="2660129"/>
                  </a:lnTo>
                  <a:lnTo>
                    <a:pt x="2132228" y="2660129"/>
                  </a:lnTo>
                  <a:lnTo>
                    <a:pt x="2128875" y="2663571"/>
                  </a:lnTo>
                  <a:lnTo>
                    <a:pt x="2128875" y="2700363"/>
                  </a:lnTo>
                  <a:lnTo>
                    <a:pt x="2132228" y="2703817"/>
                  </a:lnTo>
                  <a:lnTo>
                    <a:pt x="2168004" y="2703817"/>
                  </a:lnTo>
                  <a:lnTo>
                    <a:pt x="2171357" y="2700363"/>
                  </a:lnTo>
                  <a:lnTo>
                    <a:pt x="2171357" y="2688882"/>
                  </a:lnTo>
                  <a:lnTo>
                    <a:pt x="2171357" y="2675077"/>
                  </a:lnTo>
                  <a:lnTo>
                    <a:pt x="2171357" y="2663571"/>
                  </a:lnTo>
                  <a:close/>
                </a:path>
                <a:path w="2171700" h="2899410">
                  <a:moveTo>
                    <a:pt x="2171357" y="2606090"/>
                  </a:moveTo>
                  <a:lnTo>
                    <a:pt x="2168004" y="2602636"/>
                  </a:lnTo>
                  <a:lnTo>
                    <a:pt x="2157946" y="2602636"/>
                  </a:lnTo>
                  <a:lnTo>
                    <a:pt x="2157946" y="2616428"/>
                  </a:lnTo>
                  <a:lnTo>
                    <a:pt x="2157946" y="2631376"/>
                  </a:lnTo>
                  <a:lnTo>
                    <a:pt x="2143404" y="2631376"/>
                  </a:lnTo>
                  <a:lnTo>
                    <a:pt x="2143404" y="2616428"/>
                  </a:lnTo>
                  <a:lnTo>
                    <a:pt x="2157946" y="2616428"/>
                  </a:lnTo>
                  <a:lnTo>
                    <a:pt x="2157946" y="2602636"/>
                  </a:lnTo>
                  <a:lnTo>
                    <a:pt x="2132228" y="2602636"/>
                  </a:lnTo>
                  <a:lnTo>
                    <a:pt x="2128875" y="2606090"/>
                  </a:lnTo>
                  <a:lnTo>
                    <a:pt x="2128875" y="2642882"/>
                  </a:lnTo>
                  <a:lnTo>
                    <a:pt x="2132228" y="2646337"/>
                  </a:lnTo>
                  <a:lnTo>
                    <a:pt x="2168004" y="2646337"/>
                  </a:lnTo>
                  <a:lnTo>
                    <a:pt x="2171357" y="2642882"/>
                  </a:lnTo>
                  <a:lnTo>
                    <a:pt x="2171357" y="2631376"/>
                  </a:lnTo>
                  <a:lnTo>
                    <a:pt x="2171357" y="2616428"/>
                  </a:lnTo>
                  <a:lnTo>
                    <a:pt x="2171357" y="2606090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3" name="object 95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4191746" y="5046508"/>
              <a:ext cx="393463" cy="392783"/>
            </a:xfrm>
            <a:prstGeom prst="rect">
              <a:avLst/>
            </a:prstGeom>
          </p:spPr>
        </p:pic>
        <p:sp>
          <p:nvSpPr>
            <p:cNvPr id="24" name="object 96"/>
            <p:cNvSpPr/>
            <p:nvPr/>
          </p:nvSpPr>
          <p:spPr>
            <a:xfrm>
              <a:off x="5556377" y="1984120"/>
              <a:ext cx="489584" cy="488950"/>
            </a:xfrm>
            <a:custGeom>
              <a:avLst/>
              <a:gdLst/>
              <a:ahLst/>
              <a:cxnLst/>
              <a:rect l="l" t="t" r="r" b="b"/>
              <a:pathLst>
                <a:path w="489585" h="488950">
                  <a:moveTo>
                    <a:pt x="88176" y="401320"/>
                  </a:moveTo>
                  <a:lnTo>
                    <a:pt x="85039" y="396240"/>
                  </a:lnTo>
                  <a:lnTo>
                    <a:pt x="78498" y="392430"/>
                  </a:lnTo>
                  <a:lnTo>
                    <a:pt x="64109" y="392430"/>
                  </a:lnTo>
                  <a:lnTo>
                    <a:pt x="57569" y="396240"/>
                  </a:lnTo>
                  <a:lnTo>
                    <a:pt x="53365" y="401320"/>
                  </a:lnTo>
                  <a:lnTo>
                    <a:pt x="88176" y="401320"/>
                  </a:lnTo>
                  <a:close/>
                </a:path>
                <a:path w="489585" h="488950">
                  <a:moveTo>
                    <a:pt x="413448" y="353009"/>
                  </a:moveTo>
                  <a:lnTo>
                    <a:pt x="397751" y="353009"/>
                  </a:lnTo>
                  <a:lnTo>
                    <a:pt x="397751" y="368719"/>
                  </a:lnTo>
                  <a:lnTo>
                    <a:pt x="413448" y="368719"/>
                  </a:lnTo>
                  <a:lnTo>
                    <a:pt x="413448" y="353009"/>
                  </a:lnTo>
                  <a:close/>
                </a:path>
                <a:path w="489585" h="488950">
                  <a:moveTo>
                    <a:pt x="439877" y="401320"/>
                  </a:moveTo>
                  <a:lnTo>
                    <a:pt x="435698" y="396240"/>
                  </a:lnTo>
                  <a:lnTo>
                    <a:pt x="429145" y="392430"/>
                  </a:lnTo>
                  <a:lnTo>
                    <a:pt x="414756" y="392430"/>
                  </a:lnTo>
                  <a:lnTo>
                    <a:pt x="408216" y="396240"/>
                  </a:lnTo>
                  <a:lnTo>
                    <a:pt x="405079" y="401320"/>
                  </a:lnTo>
                  <a:lnTo>
                    <a:pt x="439877" y="401320"/>
                  </a:lnTo>
                  <a:close/>
                </a:path>
                <a:path w="489585" h="488950">
                  <a:moveTo>
                    <a:pt x="446163" y="353009"/>
                  </a:moveTo>
                  <a:lnTo>
                    <a:pt x="430453" y="353009"/>
                  </a:lnTo>
                  <a:lnTo>
                    <a:pt x="430453" y="368719"/>
                  </a:lnTo>
                  <a:lnTo>
                    <a:pt x="446163" y="368719"/>
                  </a:lnTo>
                  <a:lnTo>
                    <a:pt x="446163" y="353009"/>
                  </a:lnTo>
                  <a:close/>
                </a:path>
                <a:path w="489585" h="488950">
                  <a:moveTo>
                    <a:pt x="489381" y="74930"/>
                  </a:moveTo>
                  <a:lnTo>
                    <a:pt x="477558" y="74930"/>
                  </a:lnTo>
                  <a:lnTo>
                    <a:pt x="477558" y="90170"/>
                  </a:lnTo>
                  <a:lnTo>
                    <a:pt x="477558" y="106680"/>
                  </a:lnTo>
                  <a:lnTo>
                    <a:pt x="477558" y="304800"/>
                  </a:lnTo>
                  <a:lnTo>
                    <a:pt x="477558" y="321310"/>
                  </a:lnTo>
                  <a:lnTo>
                    <a:pt x="461860" y="321310"/>
                  </a:lnTo>
                  <a:lnTo>
                    <a:pt x="461860" y="337820"/>
                  </a:lnTo>
                  <a:lnTo>
                    <a:pt x="461860" y="407670"/>
                  </a:lnTo>
                  <a:lnTo>
                    <a:pt x="456628" y="402590"/>
                  </a:lnTo>
                  <a:lnTo>
                    <a:pt x="440931" y="402590"/>
                  </a:lnTo>
                  <a:lnTo>
                    <a:pt x="404304" y="402590"/>
                  </a:lnTo>
                  <a:lnTo>
                    <a:pt x="390880" y="402590"/>
                  </a:lnTo>
                  <a:lnTo>
                    <a:pt x="384797" y="405130"/>
                  </a:lnTo>
                  <a:lnTo>
                    <a:pt x="379425" y="410210"/>
                  </a:lnTo>
                  <a:lnTo>
                    <a:pt x="374205" y="410210"/>
                  </a:lnTo>
                  <a:lnTo>
                    <a:pt x="364998" y="411480"/>
                  </a:lnTo>
                  <a:lnTo>
                    <a:pt x="358495" y="415899"/>
                  </a:lnTo>
                  <a:lnTo>
                    <a:pt x="358495" y="457200"/>
                  </a:lnTo>
                  <a:lnTo>
                    <a:pt x="358495" y="472440"/>
                  </a:lnTo>
                  <a:lnTo>
                    <a:pt x="134759" y="472440"/>
                  </a:lnTo>
                  <a:lnTo>
                    <a:pt x="134759" y="457200"/>
                  </a:lnTo>
                  <a:lnTo>
                    <a:pt x="358495" y="457200"/>
                  </a:lnTo>
                  <a:lnTo>
                    <a:pt x="358495" y="415899"/>
                  </a:lnTo>
                  <a:lnTo>
                    <a:pt x="357517" y="416560"/>
                  </a:lnTo>
                  <a:lnTo>
                    <a:pt x="352475" y="424180"/>
                  </a:lnTo>
                  <a:lnTo>
                    <a:pt x="351967" y="426656"/>
                  </a:lnTo>
                  <a:lnTo>
                    <a:pt x="351967" y="441960"/>
                  </a:lnTo>
                  <a:lnTo>
                    <a:pt x="350647" y="441960"/>
                  </a:lnTo>
                  <a:lnTo>
                    <a:pt x="350647" y="438150"/>
                  </a:lnTo>
                  <a:lnTo>
                    <a:pt x="351967" y="441960"/>
                  </a:lnTo>
                  <a:lnTo>
                    <a:pt x="351967" y="426656"/>
                  </a:lnTo>
                  <a:lnTo>
                    <a:pt x="350647" y="433070"/>
                  </a:lnTo>
                  <a:lnTo>
                    <a:pt x="350647" y="345440"/>
                  </a:lnTo>
                  <a:lnTo>
                    <a:pt x="374205" y="345440"/>
                  </a:lnTo>
                  <a:lnTo>
                    <a:pt x="374205" y="337820"/>
                  </a:lnTo>
                  <a:lnTo>
                    <a:pt x="461860" y="337820"/>
                  </a:lnTo>
                  <a:lnTo>
                    <a:pt x="461860" y="321310"/>
                  </a:lnTo>
                  <a:lnTo>
                    <a:pt x="374205" y="321310"/>
                  </a:lnTo>
                  <a:lnTo>
                    <a:pt x="374205" y="313690"/>
                  </a:lnTo>
                  <a:lnTo>
                    <a:pt x="389902" y="313690"/>
                  </a:lnTo>
                  <a:lnTo>
                    <a:pt x="389902" y="304800"/>
                  </a:lnTo>
                  <a:lnTo>
                    <a:pt x="477558" y="304800"/>
                  </a:lnTo>
                  <a:lnTo>
                    <a:pt x="477558" y="106680"/>
                  </a:lnTo>
                  <a:lnTo>
                    <a:pt x="469722" y="106680"/>
                  </a:lnTo>
                  <a:lnTo>
                    <a:pt x="469722" y="121920"/>
                  </a:lnTo>
                  <a:lnTo>
                    <a:pt x="469722" y="289560"/>
                  </a:lnTo>
                  <a:lnTo>
                    <a:pt x="389902" y="289560"/>
                  </a:lnTo>
                  <a:lnTo>
                    <a:pt x="389902" y="281940"/>
                  </a:lnTo>
                  <a:lnTo>
                    <a:pt x="389902" y="265430"/>
                  </a:lnTo>
                  <a:lnTo>
                    <a:pt x="374205" y="265430"/>
                  </a:lnTo>
                  <a:lnTo>
                    <a:pt x="374205" y="281940"/>
                  </a:lnTo>
                  <a:lnTo>
                    <a:pt x="374205" y="297180"/>
                  </a:lnTo>
                  <a:lnTo>
                    <a:pt x="358495" y="297180"/>
                  </a:lnTo>
                  <a:lnTo>
                    <a:pt x="358495" y="313690"/>
                  </a:lnTo>
                  <a:lnTo>
                    <a:pt x="358495" y="330200"/>
                  </a:lnTo>
                  <a:lnTo>
                    <a:pt x="334962" y="330200"/>
                  </a:lnTo>
                  <a:lnTo>
                    <a:pt x="334962" y="345440"/>
                  </a:lnTo>
                  <a:lnTo>
                    <a:pt x="334962" y="441960"/>
                  </a:lnTo>
                  <a:lnTo>
                    <a:pt x="317931" y="441960"/>
                  </a:lnTo>
                  <a:lnTo>
                    <a:pt x="317931" y="345440"/>
                  </a:lnTo>
                  <a:lnTo>
                    <a:pt x="334962" y="345440"/>
                  </a:lnTo>
                  <a:lnTo>
                    <a:pt x="334962" y="330200"/>
                  </a:lnTo>
                  <a:lnTo>
                    <a:pt x="302247" y="330200"/>
                  </a:lnTo>
                  <a:lnTo>
                    <a:pt x="302247" y="345440"/>
                  </a:lnTo>
                  <a:lnTo>
                    <a:pt x="302247" y="441960"/>
                  </a:lnTo>
                  <a:lnTo>
                    <a:pt x="270840" y="441960"/>
                  </a:lnTo>
                  <a:lnTo>
                    <a:pt x="270840" y="345440"/>
                  </a:lnTo>
                  <a:lnTo>
                    <a:pt x="302247" y="345440"/>
                  </a:lnTo>
                  <a:lnTo>
                    <a:pt x="302247" y="330200"/>
                  </a:lnTo>
                  <a:lnTo>
                    <a:pt x="255143" y="330200"/>
                  </a:lnTo>
                  <a:lnTo>
                    <a:pt x="255143" y="345440"/>
                  </a:lnTo>
                  <a:lnTo>
                    <a:pt x="255143" y="441960"/>
                  </a:lnTo>
                  <a:lnTo>
                    <a:pt x="238137" y="441960"/>
                  </a:lnTo>
                  <a:lnTo>
                    <a:pt x="238137" y="345440"/>
                  </a:lnTo>
                  <a:lnTo>
                    <a:pt x="255143" y="345440"/>
                  </a:lnTo>
                  <a:lnTo>
                    <a:pt x="255143" y="330200"/>
                  </a:lnTo>
                  <a:lnTo>
                    <a:pt x="222427" y="330200"/>
                  </a:lnTo>
                  <a:lnTo>
                    <a:pt x="222427" y="345440"/>
                  </a:lnTo>
                  <a:lnTo>
                    <a:pt x="222427" y="441960"/>
                  </a:lnTo>
                  <a:lnTo>
                    <a:pt x="191033" y="441960"/>
                  </a:lnTo>
                  <a:lnTo>
                    <a:pt x="191033" y="345440"/>
                  </a:lnTo>
                  <a:lnTo>
                    <a:pt x="222427" y="345440"/>
                  </a:lnTo>
                  <a:lnTo>
                    <a:pt x="222427" y="330200"/>
                  </a:lnTo>
                  <a:lnTo>
                    <a:pt x="175323" y="330200"/>
                  </a:lnTo>
                  <a:lnTo>
                    <a:pt x="175323" y="345440"/>
                  </a:lnTo>
                  <a:lnTo>
                    <a:pt x="175323" y="441960"/>
                  </a:lnTo>
                  <a:lnTo>
                    <a:pt x="158318" y="441960"/>
                  </a:lnTo>
                  <a:lnTo>
                    <a:pt x="158318" y="345440"/>
                  </a:lnTo>
                  <a:lnTo>
                    <a:pt x="175323" y="345440"/>
                  </a:lnTo>
                  <a:lnTo>
                    <a:pt x="175323" y="330200"/>
                  </a:lnTo>
                  <a:lnTo>
                    <a:pt x="142608" y="330200"/>
                  </a:lnTo>
                  <a:lnTo>
                    <a:pt x="142608" y="345440"/>
                  </a:lnTo>
                  <a:lnTo>
                    <a:pt x="142608" y="433070"/>
                  </a:lnTo>
                  <a:lnTo>
                    <a:pt x="142608" y="438150"/>
                  </a:lnTo>
                  <a:lnTo>
                    <a:pt x="142608" y="441960"/>
                  </a:lnTo>
                  <a:lnTo>
                    <a:pt x="141300" y="441960"/>
                  </a:lnTo>
                  <a:lnTo>
                    <a:pt x="142608" y="438150"/>
                  </a:lnTo>
                  <a:lnTo>
                    <a:pt x="142608" y="433070"/>
                  </a:lnTo>
                  <a:lnTo>
                    <a:pt x="126911" y="411302"/>
                  </a:lnTo>
                  <a:lnTo>
                    <a:pt x="126911" y="427990"/>
                  </a:lnTo>
                  <a:lnTo>
                    <a:pt x="126911" y="436880"/>
                  </a:lnTo>
                  <a:lnTo>
                    <a:pt x="122986" y="441960"/>
                  </a:lnTo>
                  <a:lnTo>
                    <a:pt x="119062" y="441960"/>
                  </a:lnTo>
                  <a:lnTo>
                    <a:pt x="119062" y="457200"/>
                  </a:lnTo>
                  <a:lnTo>
                    <a:pt x="119062" y="472440"/>
                  </a:lnTo>
                  <a:lnTo>
                    <a:pt x="23545" y="472440"/>
                  </a:lnTo>
                  <a:lnTo>
                    <a:pt x="23545" y="457200"/>
                  </a:lnTo>
                  <a:lnTo>
                    <a:pt x="119062" y="457200"/>
                  </a:lnTo>
                  <a:lnTo>
                    <a:pt x="119062" y="441960"/>
                  </a:lnTo>
                  <a:lnTo>
                    <a:pt x="18313" y="441960"/>
                  </a:lnTo>
                  <a:lnTo>
                    <a:pt x="15697" y="436880"/>
                  </a:lnTo>
                  <a:lnTo>
                    <a:pt x="15697" y="427990"/>
                  </a:lnTo>
                  <a:lnTo>
                    <a:pt x="18313" y="425450"/>
                  </a:lnTo>
                  <a:lnTo>
                    <a:pt x="26162" y="425450"/>
                  </a:lnTo>
                  <a:lnTo>
                    <a:pt x="27470" y="426720"/>
                  </a:lnTo>
                  <a:lnTo>
                    <a:pt x="36626" y="431800"/>
                  </a:lnTo>
                  <a:lnTo>
                    <a:pt x="38493" y="425450"/>
                  </a:lnTo>
                  <a:lnTo>
                    <a:pt x="39243" y="422910"/>
                  </a:lnTo>
                  <a:lnTo>
                    <a:pt x="41859" y="417830"/>
                  </a:lnTo>
                  <a:lnTo>
                    <a:pt x="47091" y="416560"/>
                  </a:lnTo>
                  <a:lnTo>
                    <a:pt x="51015" y="419100"/>
                  </a:lnTo>
                  <a:lnTo>
                    <a:pt x="60185" y="424180"/>
                  </a:lnTo>
                  <a:lnTo>
                    <a:pt x="63550" y="416560"/>
                  </a:lnTo>
                  <a:lnTo>
                    <a:pt x="64109" y="415290"/>
                  </a:lnTo>
                  <a:lnTo>
                    <a:pt x="65417" y="411480"/>
                  </a:lnTo>
                  <a:lnTo>
                    <a:pt x="68033" y="410210"/>
                  </a:lnTo>
                  <a:lnTo>
                    <a:pt x="74574" y="410210"/>
                  </a:lnTo>
                  <a:lnTo>
                    <a:pt x="77190" y="411480"/>
                  </a:lnTo>
                  <a:lnTo>
                    <a:pt x="78498" y="415290"/>
                  </a:lnTo>
                  <a:lnTo>
                    <a:pt x="82423" y="424180"/>
                  </a:lnTo>
                  <a:lnTo>
                    <a:pt x="94195" y="416560"/>
                  </a:lnTo>
                  <a:lnTo>
                    <a:pt x="100736" y="417830"/>
                  </a:lnTo>
                  <a:lnTo>
                    <a:pt x="102057" y="422910"/>
                  </a:lnTo>
                  <a:lnTo>
                    <a:pt x="105981" y="431800"/>
                  </a:lnTo>
                  <a:lnTo>
                    <a:pt x="115138" y="426720"/>
                  </a:lnTo>
                  <a:lnTo>
                    <a:pt x="116446" y="425450"/>
                  </a:lnTo>
                  <a:lnTo>
                    <a:pt x="122986" y="425450"/>
                  </a:lnTo>
                  <a:lnTo>
                    <a:pt x="126911" y="427990"/>
                  </a:lnTo>
                  <a:lnTo>
                    <a:pt x="126911" y="411302"/>
                  </a:lnTo>
                  <a:lnTo>
                    <a:pt x="119062" y="410210"/>
                  </a:lnTo>
                  <a:lnTo>
                    <a:pt x="113830" y="410210"/>
                  </a:lnTo>
                  <a:lnTo>
                    <a:pt x="111150" y="407670"/>
                  </a:lnTo>
                  <a:lnTo>
                    <a:pt x="108470" y="405130"/>
                  </a:lnTo>
                  <a:lnTo>
                    <a:pt x="102374" y="402590"/>
                  </a:lnTo>
                  <a:lnTo>
                    <a:pt x="88963" y="402590"/>
                  </a:lnTo>
                  <a:lnTo>
                    <a:pt x="52324" y="402590"/>
                  </a:lnTo>
                  <a:lnTo>
                    <a:pt x="36626" y="402590"/>
                  </a:lnTo>
                  <a:lnTo>
                    <a:pt x="31394" y="407670"/>
                  </a:lnTo>
                  <a:lnTo>
                    <a:pt x="31394" y="337820"/>
                  </a:lnTo>
                  <a:lnTo>
                    <a:pt x="119062" y="337820"/>
                  </a:lnTo>
                  <a:lnTo>
                    <a:pt x="119062" y="345440"/>
                  </a:lnTo>
                  <a:lnTo>
                    <a:pt x="142608" y="345440"/>
                  </a:lnTo>
                  <a:lnTo>
                    <a:pt x="142608" y="330200"/>
                  </a:lnTo>
                  <a:lnTo>
                    <a:pt x="134759" y="330200"/>
                  </a:lnTo>
                  <a:lnTo>
                    <a:pt x="134759" y="321310"/>
                  </a:lnTo>
                  <a:lnTo>
                    <a:pt x="134759" y="313690"/>
                  </a:lnTo>
                  <a:lnTo>
                    <a:pt x="358495" y="313690"/>
                  </a:lnTo>
                  <a:lnTo>
                    <a:pt x="358495" y="297180"/>
                  </a:lnTo>
                  <a:lnTo>
                    <a:pt x="119062" y="297180"/>
                  </a:lnTo>
                  <a:lnTo>
                    <a:pt x="119062" y="313690"/>
                  </a:lnTo>
                  <a:lnTo>
                    <a:pt x="119062" y="321310"/>
                  </a:lnTo>
                  <a:lnTo>
                    <a:pt x="15697" y="321310"/>
                  </a:lnTo>
                  <a:lnTo>
                    <a:pt x="15697" y="304800"/>
                  </a:lnTo>
                  <a:lnTo>
                    <a:pt x="103352" y="304800"/>
                  </a:lnTo>
                  <a:lnTo>
                    <a:pt x="103352" y="313690"/>
                  </a:lnTo>
                  <a:lnTo>
                    <a:pt x="119062" y="313690"/>
                  </a:lnTo>
                  <a:lnTo>
                    <a:pt x="119062" y="297180"/>
                  </a:lnTo>
                  <a:lnTo>
                    <a:pt x="119062" y="281940"/>
                  </a:lnTo>
                  <a:lnTo>
                    <a:pt x="374205" y="281940"/>
                  </a:lnTo>
                  <a:lnTo>
                    <a:pt x="374205" y="265430"/>
                  </a:lnTo>
                  <a:lnTo>
                    <a:pt x="342798" y="265430"/>
                  </a:lnTo>
                  <a:lnTo>
                    <a:pt x="342798" y="121920"/>
                  </a:lnTo>
                  <a:lnTo>
                    <a:pt x="469722" y="121920"/>
                  </a:lnTo>
                  <a:lnTo>
                    <a:pt x="469722" y="106680"/>
                  </a:lnTo>
                  <a:lnTo>
                    <a:pt x="325793" y="106680"/>
                  </a:lnTo>
                  <a:lnTo>
                    <a:pt x="325793" y="121920"/>
                  </a:lnTo>
                  <a:lnTo>
                    <a:pt x="325793" y="265430"/>
                  </a:lnTo>
                  <a:lnTo>
                    <a:pt x="310083" y="265430"/>
                  </a:lnTo>
                  <a:lnTo>
                    <a:pt x="310083" y="224790"/>
                  </a:lnTo>
                  <a:lnTo>
                    <a:pt x="310083" y="209550"/>
                  </a:lnTo>
                  <a:lnTo>
                    <a:pt x="310083" y="177800"/>
                  </a:lnTo>
                  <a:lnTo>
                    <a:pt x="310083" y="162560"/>
                  </a:lnTo>
                  <a:lnTo>
                    <a:pt x="310083" y="121920"/>
                  </a:lnTo>
                  <a:lnTo>
                    <a:pt x="325793" y="121920"/>
                  </a:lnTo>
                  <a:lnTo>
                    <a:pt x="325793" y="106680"/>
                  </a:lnTo>
                  <a:lnTo>
                    <a:pt x="294386" y="106680"/>
                  </a:lnTo>
                  <a:lnTo>
                    <a:pt x="294386" y="121920"/>
                  </a:lnTo>
                  <a:lnTo>
                    <a:pt x="294386" y="162560"/>
                  </a:lnTo>
                  <a:lnTo>
                    <a:pt x="294386" y="177800"/>
                  </a:lnTo>
                  <a:lnTo>
                    <a:pt x="294386" y="209550"/>
                  </a:lnTo>
                  <a:lnTo>
                    <a:pt x="294386" y="224790"/>
                  </a:lnTo>
                  <a:lnTo>
                    <a:pt x="294386" y="265430"/>
                  </a:lnTo>
                  <a:lnTo>
                    <a:pt x="255143" y="265430"/>
                  </a:lnTo>
                  <a:lnTo>
                    <a:pt x="255143" y="224790"/>
                  </a:lnTo>
                  <a:lnTo>
                    <a:pt x="294386" y="224790"/>
                  </a:lnTo>
                  <a:lnTo>
                    <a:pt x="294386" y="209550"/>
                  </a:lnTo>
                  <a:lnTo>
                    <a:pt x="255143" y="209550"/>
                  </a:lnTo>
                  <a:lnTo>
                    <a:pt x="255143" y="177800"/>
                  </a:lnTo>
                  <a:lnTo>
                    <a:pt x="294386" y="177800"/>
                  </a:lnTo>
                  <a:lnTo>
                    <a:pt x="294386" y="162560"/>
                  </a:lnTo>
                  <a:lnTo>
                    <a:pt x="255143" y="162560"/>
                  </a:lnTo>
                  <a:lnTo>
                    <a:pt x="255143" y="121920"/>
                  </a:lnTo>
                  <a:lnTo>
                    <a:pt x="294386" y="121920"/>
                  </a:lnTo>
                  <a:lnTo>
                    <a:pt x="294386" y="106680"/>
                  </a:lnTo>
                  <a:lnTo>
                    <a:pt x="238137" y="106680"/>
                  </a:lnTo>
                  <a:lnTo>
                    <a:pt x="238137" y="121920"/>
                  </a:lnTo>
                  <a:lnTo>
                    <a:pt x="238137" y="162560"/>
                  </a:lnTo>
                  <a:lnTo>
                    <a:pt x="238137" y="177800"/>
                  </a:lnTo>
                  <a:lnTo>
                    <a:pt x="238137" y="209550"/>
                  </a:lnTo>
                  <a:lnTo>
                    <a:pt x="238137" y="224790"/>
                  </a:lnTo>
                  <a:lnTo>
                    <a:pt x="238137" y="265430"/>
                  </a:lnTo>
                  <a:lnTo>
                    <a:pt x="198869" y="265430"/>
                  </a:lnTo>
                  <a:lnTo>
                    <a:pt x="198869" y="224790"/>
                  </a:lnTo>
                  <a:lnTo>
                    <a:pt x="238137" y="224790"/>
                  </a:lnTo>
                  <a:lnTo>
                    <a:pt x="238137" y="209550"/>
                  </a:lnTo>
                  <a:lnTo>
                    <a:pt x="198869" y="209550"/>
                  </a:lnTo>
                  <a:lnTo>
                    <a:pt x="198869" y="177800"/>
                  </a:lnTo>
                  <a:lnTo>
                    <a:pt x="238137" y="177800"/>
                  </a:lnTo>
                  <a:lnTo>
                    <a:pt x="238137" y="162560"/>
                  </a:lnTo>
                  <a:lnTo>
                    <a:pt x="198869" y="162560"/>
                  </a:lnTo>
                  <a:lnTo>
                    <a:pt x="198869" y="121920"/>
                  </a:lnTo>
                  <a:lnTo>
                    <a:pt x="238137" y="121920"/>
                  </a:lnTo>
                  <a:lnTo>
                    <a:pt x="238137" y="106680"/>
                  </a:lnTo>
                  <a:lnTo>
                    <a:pt x="183172" y="106680"/>
                  </a:lnTo>
                  <a:lnTo>
                    <a:pt x="183172" y="121920"/>
                  </a:lnTo>
                  <a:lnTo>
                    <a:pt x="183172" y="265430"/>
                  </a:lnTo>
                  <a:lnTo>
                    <a:pt x="167474" y="265430"/>
                  </a:lnTo>
                  <a:lnTo>
                    <a:pt x="167474" y="121920"/>
                  </a:lnTo>
                  <a:lnTo>
                    <a:pt x="183172" y="121920"/>
                  </a:lnTo>
                  <a:lnTo>
                    <a:pt x="183172" y="106680"/>
                  </a:lnTo>
                  <a:lnTo>
                    <a:pt x="150456" y="106680"/>
                  </a:lnTo>
                  <a:lnTo>
                    <a:pt x="150456" y="121920"/>
                  </a:lnTo>
                  <a:lnTo>
                    <a:pt x="150456" y="265430"/>
                  </a:lnTo>
                  <a:lnTo>
                    <a:pt x="103352" y="265430"/>
                  </a:lnTo>
                  <a:lnTo>
                    <a:pt x="103352" y="289560"/>
                  </a:lnTo>
                  <a:lnTo>
                    <a:pt x="23545" y="289560"/>
                  </a:lnTo>
                  <a:lnTo>
                    <a:pt x="23545" y="121920"/>
                  </a:lnTo>
                  <a:lnTo>
                    <a:pt x="150456" y="121920"/>
                  </a:lnTo>
                  <a:lnTo>
                    <a:pt x="150456" y="106680"/>
                  </a:lnTo>
                  <a:lnTo>
                    <a:pt x="15697" y="106680"/>
                  </a:lnTo>
                  <a:lnTo>
                    <a:pt x="15697" y="90170"/>
                  </a:lnTo>
                  <a:lnTo>
                    <a:pt x="477558" y="90170"/>
                  </a:lnTo>
                  <a:lnTo>
                    <a:pt x="477558" y="74930"/>
                  </a:lnTo>
                  <a:lnTo>
                    <a:pt x="439623" y="74930"/>
                  </a:lnTo>
                  <a:lnTo>
                    <a:pt x="440931" y="66040"/>
                  </a:lnTo>
                  <a:lnTo>
                    <a:pt x="457936" y="36830"/>
                  </a:lnTo>
                  <a:lnTo>
                    <a:pt x="434390" y="26898"/>
                  </a:lnTo>
                  <a:lnTo>
                    <a:pt x="434390" y="44450"/>
                  </a:lnTo>
                  <a:lnTo>
                    <a:pt x="425234" y="60960"/>
                  </a:lnTo>
                  <a:lnTo>
                    <a:pt x="423926" y="74930"/>
                  </a:lnTo>
                  <a:lnTo>
                    <a:pt x="388594" y="74930"/>
                  </a:lnTo>
                  <a:lnTo>
                    <a:pt x="387286" y="60960"/>
                  </a:lnTo>
                  <a:lnTo>
                    <a:pt x="384467" y="55880"/>
                  </a:lnTo>
                  <a:lnTo>
                    <a:pt x="378117" y="44450"/>
                  </a:lnTo>
                  <a:lnTo>
                    <a:pt x="395135" y="36830"/>
                  </a:lnTo>
                  <a:lnTo>
                    <a:pt x="398945" y="31750"/>
                  </a:lnTo>
                  <a:lnTo>
                    <a:pt x="405599" y="22860"/>
                  </a:lnTo>
                  <a:lnTo>
                    <a:pt x="417385" y="36830"/>
                  </a:lnTo>
                  <a:lnTo>
                    <a:pt x="434390" y="44450"/>
                  </a:lnTo>
                  <a:lnTo>
                    <a:pt x="434390" y="26898"/>
                  </a:lnTo>
                  <a:lnTo>
                    <a:pt x="427837" y="24130"/>
                  </a:lnTo>
                  <a:lnTo>
                    <a:pt x="426732" y="22860"/>
                  </a:lnTo>
                  <a:lnTo>
                    <a:pt x="406768" y="0"/>
                  </a:lnTo>
                  <a:lnTo>
                    <a:pt x="404507" y="0"/>
                  </a:lnTo>
                  <a:lnTo>
                    <a:pt x="384670" y="24130"/>
                  </a:lnTo>
                  <a:lnTo>
                    <a:pt x="372897" y="29032"/>
                  </a:lnTo>
                  <a:lnTo>
                    <a:pt x="372897" y="74930"/>
                  </a:lnTo>
                  <a:lnTo>
                    <a:pt x="359803" y="74930"/>
                  </a:lnTo>
                  <a:lnTo>
                    <a:pt x="361111" y="66040"/>
                  </a:lnTo>
                  <a:lnTo>
                    <a:pt x="366344" y="55880"/>
                  </a:lnTo>
                  <a:lnTo>
                    <a:pt x="371589" y="66040"/>
                  </a:lnTo>
                  <a:lnTo>
                    <a:pt x="372897" y="74930"/>
                  </a:lnTo>
                  <a:lnTo>
                    <a:pt x="372897" y="29032"/>
                  </a:lnTo>
                  <a:lnTo>
                    <a:pt x="366344" y="31750"/>
                  </a:lnTo>
                  <a:lnTo>
                    <a:pt x="354584" y="26860"/>
                  </a:lnTo>
                  <a:lnTo>
                    <a:pt x="354584" y="44450"/>
                  </a:lnTo>
                  <a:lnTo>
                    <a:pt x="345414" y="60960"/>
                  </a:lnTo>
                  <a:lnTo>
                    <a:pt x="344106" y="74930"/>
                  </a:lnTo>
                  <a:lnTo>
                    <a:pt x="308775" y="74930"/>
                  </a:lnTo>
                  <a:lnTo>
                    <a:pt x="307479" y="60960"/>
                  </a:lnTo>
                  <a:lnTo>
                    <a:pt x="304647" y="55880"/>
                  </a:lnTo>
                  <a:lnTo>
                    <a:pt x="298310" y="44450"/>
                  </a:lnTo>
                  <a:lnTo>
                    <a:pt x="315315" y="36830"/>
                  </a:lnTo>
                  <a:lnTo>
                    <a:pt x="319125" y="31750"/>
                  </a:lnTo>
                  <a:lnTo>
                    <a:pt x="325793" y="22860"/>
                  </a:lnTo>
                  <a:lnTo>
                    <a:pt x="337566" y="36830"/>
                  </a:lnTo>
                  <a:lnTo>
                    <a:pt x="354584" y="44450"/>
                  </a:lnTo>
                  <a:lnTo>
                    <a:pt x="354584" y="26860"/>
                  </a:lnTo>
                  <a:lnTo>
                    <a:pt x="348030" y="24130"/>
                  </a:lnTo>
                  <a:lnTo>
                    <a:pt x="346913" y="22860"/>
                  </a:lnTo>
                  <a:lnTo>
                    <a:pt x="326961" y="0"/>
                  </a:lnTo>
                  <a:lnTo>
                    <a:pt x="324688" y="0"/>
                  </a:lnTo>
                  <a:lnTo>
                    <a:pt x="304863" y="24130"/>
                  </a:lnTo>
                  <a:lnTo>
                    <a:pt x="293077" y="29044"/>
                  </a:lnTo>
                  <a:lnTo>
                    <a:pt x="293077" y="74930"/>
                  </a:lnTo>
                  <a:lnTo>
                    <a:pt x="279996" y="74930"/>
                  </a:lnTo>
                  <a:lnTo>
                    <a:pt x="281305" y="66040"/>
                  </a:lnTo>
                  <a:lnTo>
                    <a:pt x="286550" y="55880"/>
                  </a:lnTo>
                  <a:lnTo>
                    <a:pt x="291769" y="66040"/>
                  </a:lnTo>
                  <a:lnTo>
                    <a:pt x="293077" y="74930"/>
                  </a:lnTo>
                  <a:lnTo>
                    <a:pt x="293077" y="29044"/>
                  </a:lnTo>
                  <a:lnTo>
                    <a:pt x="286550" y="31750"/>
                  </a:lnTo>
                  <a:lnTo>
                    <a:pt x="274764" y="26860"/>
                  </a:lnTo>
                  <a:lnTo>
                    <a:pt x="274764" y="44450"/>
                  </a:lnTo>
                  <a:lnTo>
                    <a:pt x="265595" y="60960"/>
                  </a:lnTo>
                  <a:lnTo>
                    <a:pt x="264287" y="74930"/>
                  </a:lnTo>
                  <a:lnTo>
                    <a:pt x="228968" y="74930"/>
                  </a:lnTo>
                  <a:lnTo>
                    <a:pt x="227660" y="60960"/>
                  </a:lnTo>
                  <a:lnTo>
                    <a:pt x="224840" y="55880"/>
                  </a:lnTo>
                  <a:lnTo>
                    <a:pt x="218490" y="44450"/>
                  </a:lnTo>
                  <a:lnTo>
                    <a:pt x="235496" y="36830"/>
                  </a:lnTo>
                  <a:lnTo>
                    <a:pt x="239306" y="31750"/>
                  </a:lnTo>
                  <a:lnTo>
                    <a:pt x="245973" y="22860"/>
                  </a:lnTo>
                  <a:lnTo>
                    <a:pt x="257759" y="36830"/>
                  </a:lnTo>
                  <a:lnTo>
                    <a:pt x="274764" y="44450"/>
                  </a:lnTo>
                  <a:lnTo>
                    <a:pt x="274764" y="26860"/>
                  </a:lnTo>
                  <a:lnTo>
                    <a:pt x="268211" y="24130"/>
                  </a:lnTo>
                  <a:lnTo>
                    <a:pt x="267106" y="22860"/>
                  </a:lnTo>
                  <a:lnTo>
                    <a:pt x="247142" y="0"/>
                  </a:lnTo>
                  <a:lnTo>
                    <a:pt x="244868" y="0"/>
                  </a:lnTo>
                  <a:lnTo>
                    <a:pt x="225044" y="24130"/>
                  </a:lnTo>
                  <a:lnTo>
                    <a:pt x="213258" y="29044"/>
                  </a:lnTo>
                  <a:lnTo>
                    <a:pt x="213258" y="74930"/>
                  </a:lnTo>
                  <a:lnTo>
                    <a:pt x="200177" y="74930"/>
                  </a:lnTo>
                  <a:lnTo>
                    <a:pt x="201485" y="66040"/>
                  </a:lnTo>
                  <a:lnTo>
                    <a:pt x="206730" y="55880"/>
                  </a:lnTo>
                  <a:lnTo>
                    <a:pt x="211963" y="66040"/>
                  </a:lnTo>
                  <a:lnTo>
                    <a:pt x="213258" y="74930"/>
                  </a:lnTo>
                  <a:lnTo>
                    <a:pt x="213258" y="29044"/>
                  </a:lnTo>
                  <a:lnTo>
                    <a:pt x="206730" y="31750"/>
                  </a:lnTo>
                  <a:lnTo>
                    <a:pt x="194945" y="26847"/>
                  </a:lnTo>
                  <a:lnTo>
                    <a:pt x="194945" y="44450"/>
                  </a:lnTo>
                  <a:lnTo>
                    <a:pt x="185788" y="60960"/>
                  </a:lnTo>
                  <a:lnTo>
                    <a:pt x="184480" y="74930"/>
                  </a:lnTo>
                  <a:lnTo>
                    <a:pt x="149148" y="74930"/>
                  </a:lnTo>
                  <a:lnTo>
                    <a:pt x="147840" y="60960"/>
                  </a:lnTo>
                  <a:lnTo>
                    <a:pt x="145021" y="55880"/>
                  </a:lnTo>
                  <a:lnTo>
                    <a:pt x="138684" y="44450"/>
                  </a:lnTo>
                  <a:lnTo>
                    <a:pt x="155689" y="36830"/>
                  </a:lnTo>
                  <a:lnTo>
                    <a:pt x="159981" y="31750"/>
                  </a:lnTo>
                  <a:lnTo>
                    <a:pt x="167474" y="22860"/>
                  </a:lnTo>
                  <a:lnTo>
                    <a:pt x="177939" y="36830"/>
                  </a:lnTo>
                  <a:lnTo>
                    <a:pt x="194945" y="44450"/>
                  </a:lnTo>
                  <a:lnTo>
                    <a:pt x="194945" y="26847"/>
                  </a:lnTo>
                  <a:lnTo>
                    <a:pt x="188417" y="24130"/>
                  </a:lnTo>
                  <a:lnTo>
                    <a:pt x="187363" y="22860"/>
                  </a:lnTo>
                  <a:lnTo>
                    <a:pt x="168567" y="0"/>
                  </a:lnTo>
                  <a:lnTo>
                    <a:pt x="166306" y="0"/>
                  </a:lnTo>
                  <a:lnTo>
                    <a:pt x="145224" y="24130"/>
                  </a:lnTo>
                  <a:lnTo>
                    <a:pt x="133451" y="29032"/>
                  </a:lnTo>
                  <a:lnTo>
                    <a:pt x="133451" y="74930"/>
                  </a:lnTo>
                  <a:lnTo>
                    <a:pt x="120370" y="74930"/>
                  </a:lnTo>
                  <a:lnTo>
                    <a:pt x="121678" y="66040"/>
                  </a:lnTo>
                  <a:lnTo>
                    <a:pt x="126911" y="55880"/>
                  </a:lnTo>
                  <a:lnTo>
                    <a:pt x="132143" y="66040"/>
                  </a:lnTo>
                  <a:lnTo>
                    <a:pt x="133451" y="74930"/>
                  </a:lnTo>
                  <a:lnTo>
                    <a:pt x="133451" y="29032"/>
                  </a:lnTo>
                  <a:lnTo>
                    <a:pt x="126911" y="31750"/>
                  </a:lnTo>
                  <a:lnTo>
                    <a:pt x="115138" y="26860"/>
                  </a:lnTo>
                  <a:lnTo>
                    <a:pt x="115138" y="44450"/>
                  </a:lnTo>
                  <a:lnTo>
                    <a:pt x="105981" y="60960"/>
                  </a:lnTo>
                  <a:lnTo>
                    <a:pt x="104660" y="74930"/>
                  </a:lnTo>
                  <a:lnTo>
                    <a:pt x="69342" y="74930"/>
                  </a:lnTo>
                  <a:lnTo>
                    <a:pt x="68033" y="60960"/>
                  </a:lnTo>
                  <a:lnTo>
                    <a:pt x="58877" y="44450"/>
                  </a:lnTo>
                  <a:lnTo>
                    <a:pt x="75882" y="36830"/>
                  </a:lnTo>
                  <a:lnTo>
                    <a:pt x="87655" y="22860"/>
                  </a:lnTo>
                  <a:lnTo>
                    <a:pt x="98120" y="36830"/>
                  </a:lnTo>
                  <a:lnTo>
                    <a:pt x="115138" y="44450"/>
                  </a:lnTo>
                  <a:lnTo>
                    <a:pt x="115138" y="26860"/>
                  </a:lnTo>
                  <a:lnTo>
                    <a:pt x="108597" y="24130"/>
                  </a:lnTo>
                  <a:lnTo>
                    <a:pt x="107543" y="22860"/>
                  </a:lnTo>
                  <a:lnTo>
                    <a:pt x="88760" y="0"/>
                  </a:lnTo>
                  <a:lnTo>
                    <a:pt x="86487" y="0"/>
                  </a:lnTo>
                  <a:lnTo>
                    <a:pt x="65417" y="24130"/>
                  </a:lnTo>
                  <a:lnTo>
                    <a:pt x="35318" y="36830"/>
                  </a:lnTo>
                  <a:lnTo>
                    <a:pt x="52324" y="66040"/>
                  </a:lnTo>
                  <a:lnTo>
                    <a:pt x="53644" y="74930"/>
                  </a:lnTo>
                  <a:lnTo>
                    <a:pt x="0" y="74930"/>
                  </a:lnTo>
                  <a:lnTo>
                    <a:pt x="0" y="121920"/>
                  </a:lnTo>
                  <a:lnTo>
                    <a:pt x="7848" y="121920"/>
                  </a:lnTo>
                  <a:lnTo>
                    <a:pt x="7848" y="289560"/>
                  </a:lnTo>
                  <a:lnTo>
                    <a:pt x="0" y="289560"/>
                  </a:lnTo>
                  <a:lnTo>
                    <a:pt x="0" y="337820"/>
                  </a:lnTo>
                  <a:lnTo>
                    <a:pt x="15697" y="337820"/>
                  </a:lnTo>
                  <a:lnTo>
                    <a:pt x="15697" y="411480"/>
                  </a:lnTo>
                  <a:lnTo>
                    <a:pt x="9372" y="414020"/>
                  </a:lnTo>
                  <a:lnTo>
                    <a:pt x="4406" y="419100"/>
                  </a:lnTo>
                  <a:lnTo>
                    <a:pt x="1155" y="425450"/>
                  </a:lnTo>
                  <a:lnTo>
                    <a:pt x="0" y="433070"/>
                  </a:lnTo>
                  <a:lnTo>
                    <a:pt x="0" y="439420"/>
                  </a:lnTo>
                  <a:lnTo>
                    <a:pt x="2616" y="447040"/>
                  </a:lnTo>
                  <a:lnTo>
                    <a:pt x="7848" y="450850"/>
                  </a:lnTo>
                  <a:lnTo>
                    <a:pt x="7848" y="488950"/>
                  </a:lnTo>
                  <a:lnTo>
                    <a:pt x="485419" y="488950"/>
                  </a:lnTo>
                  <a:lnTo>
                    <a:pt x="485419" y="472440"/>
                  </a:lnTo>
                  <a:lnTo>
                    <a:pt x="485419" y="457200"/>
                  </a:lnTo>
                  <a:lnTo>
                    <a:pt x="485419" y="450850"/>
                  </a:lnTo>
                  <a:lnTo>
                    <a:pt x="489381" y="447040"/>
                  </a:lnTo>
                  <a:lnTo>
                    <a:pt x="489381" y="441960"/>
                  </a:lnTo>
                  <a:lnTo>
                    <a:pt x="489381" y="425450"/>
                  </a:lnTo>
                  <a:lnTo>
                    <a:pt x="489381" y="420370"/>
                  </a:lnTo>
                  <a:lnTo>
                    <a:pt x="488848" y="419100"/>
                  </a:lnTo>
                  <a:lnTo>
                    <a:pt x="486371" y="416560"/>
                  </a:lnTo>
                  <a:lnTo>
                    <a:pt x="483882" y="414020"/>
                  </a:lnTo>
                  <a:lnTo>
                    <a:pt x="477558" y="411480"/>
                  </a:lnTo>
                  <a:lnTo>
                    <a:pt x="477558" y="427990"/>
                  </a:lnTo>
                  <a:lnTo>
                    <a:pt x="477558" y="436880"/>
                  </a:lnTo>
                  <a:lnTo>
                    <a:pt x="474941" y="441960"/>
                  </a:lnTo>
                  <a:lnTo>
                    <a:pt x="469722" y="441960"/>
                  </a:lnTo>
                  <a:lnTo>
                    <a:pt x="469722" y="457200"/>
                  </a:lnTo>
                  <a:lnTo>
                    <a:pt x="469722" y="472440"/>
                  </a:lnTo>
                  <a:lnTo>
                    <a:pt x="374205" y="472440"/>
                  </a:lnTo>
                  <a:lnTo>
                    <a:pt x="374205" y="457200"/>
                  </a:lnTo>
                  <a:lnTo>
                    <a:pt x="469722" y="457200"/>
                  </a:lnTo>
                  <a:lnTo>
                    <a:pt x="469722" y="441960"/>
                  </a:lnTo>
                  <a:lnTo>
                    <a:pt x="370281" y="441960"/>
                  </a:lnTo>
                  <a:lnTo>
                    <a:pt x="366344" y="436880"/>
                  </a:lnTo>
                  <a:lnTo>
                    <a:pt x="366344" y="427990"/>
                  </a:lnTo>
                  <a:lnTo>
                    <a:pt x="370281" y="425450"/>
                  </a:lnTo>
                  <a:lnTo>
                    <a:pt x="376821" y="425450"/>
                  </a:lnTo>
                  <a:lnTo>
                    <a:pt x="378117" y="426720"/>
                  </a:lnTo>
                  <a:lnTo>
                    <a:pt x="387286" y="431800"/>
                  </a:lnTo>
                  <a:lnTo>
                    <a:pt x="390093" y="425450"/>
                  </a:lnTo>
                  <a:lnTo>
                    <a:pt x="391210" y="422910"/>
                  </a:lnTo>
                  <a:lnTo>
                    <a:pt x="392518" y="417830"/>
                  </a:lnTo>
                  <a:lnTo>
                    <a:pt x="399046" y="416560"/>
                  </a:lnTo>
                  <a:lnTo>
                    <a:pt x="410832" y="424180"/>
                  </a:lnTo>
                  <a:lnTo>
                    <a:pt x="414197" y="416560"/>
                  </a:lnTo>
                  <a:lnTo>
                    <a:pt x="414756" y="415290"/>
                  </a:lnTo>
                  <a:lnTo>
                    <a:pt x="416077" y="411480"/>
                  </a:lnTo>
                  <a:lnTo>
                    <a:pt x="418693" y="410210"/>
                  </a:lnTo>
                  <a:lnTo>
                    <a:pt x="425234" y="410210"/>
                  </a:lnTo>
                  <a:lnTo>
                    <a:pt x="427837" y="411480"/>
                  </a:lnTo>
                  <a:lnTo>
                    <a:pt x="429145" y="415290"/>
                  </a:lnTo>
                  <a:lnTo>
                    <a:pt x="433082" y="424180"/>
                  </a:lnTo>
                  <a:lnTo>
                    <a:pt x="440931" y="419100"/>
                  </a:lnTo>
                  <a:lnTo>
                    <a:pt x="446163" y="416560"/>
                  </a:lnTo>
                  <a:lnTo>
                    <a:pt x="451408" y="417830"/>
                  </a:lnTo>
                  <a:lnTo>
                    <a:pt x="454012" y="422910"/>
                  </a:lnTo>
                  <a:lnTo>
                    <a:pt x="456628" y="431800"/>
                  </a:lnTo>
                  <a:lnTo>
                    <a:pt x="465797" y="426720"/>
                  </a:lnTo>
                  <a:lnTo>
                    <a:pt x="467106" y="425450"/>
                  </a:lnTo>
                  <a:lnTo>
                    <a:pt x="474941" y="425450"/>
                  </a:lnTo>
                  <a:lnTo>
                    <a:pt x="477558" y="427990"/>
                  </a:lnTo>
                  <a:lnTo>
                    <a:pt x="477558" y="411480"/>
                  </a:lnTo>
                  <a:lnTo>
                    <a:pt x="477558" y="407670"/>
                  </a:lnTo>
                  <a:lnTo>
                    <a:pt x="477558" y="337820"/>
                  </a:lnTo>
                  <a:lnTo>
                    <a:pt x="489381" y="337820"/>
                  </a:lnTo>
                  <a:lnTo>
                    <a:pt x="489381" y="289560"/>
                  </a:lnTo>
                  <a:lnTo>
                    <a:pt x="485419" y="289560"/>
                  </a:lnTo>
                  <a:lnTo>
                    <a:pt x="485419" y="121920"/>
                  </a:lnTo>
                  <a:lnTo>
                    <a:pt x="489381" y="121920"/>
                  </a:lnTo>
                  <a:lnTo>
                    <a:pt x="489381" y="106680"/>
                  </a:lnTo>
                  <a:lnTo>
                    <a:pt x="489381" y="90170"/>
                  </a:lnTo>
                  <a:lnTo>
                    <a:pt x="489381" y="74930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5" name="object 9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5914883" y="2121143"/>
              <a:ext cx="95517" cy="95561"/>
            </a:xfrm>
            <a:prstGeom prst="rect">
              <a:avLst/>
            </a:prstGeom>
          </p:spPr>
        </p:pic>
        <p:sp>
          <p:nvSpPr>
            <p:cNvPr id="26" name="object 98"/>
            <p:cNvSpPr/>
            <p:nvPr/>
          </p:nvSpPr>
          <p:spPr>
            <a:xfrm>
              <a:off x="5603468" y="2337130"/>
              <a:ext cx="48895" cy="15875"/>
            </a:xfrm>
            <a:custGeom>
              <a:avLst/>
              <a:gdLst/>
              <a:ahLst/>
              <a:cxnLst/>
              <a:rect l="l" t="t" r="r" b="b"/>
              <a:pathLst>
                <a:path w="48895" h="15875">
                  <a:moveTo>
                    <a:pt x="15709" y="0"/>
                  </a:moveTo>
                  <a:lnTo>
                    <a:pt x="0" y="0"/>
                  </a:lnTo>
                  <a:lnTo>
                    <a:pt x="0" y="15709"/>
                  </a:lnTo>
                  <a:lnTo>
                    <a:pt x="15709" y="15709"/>
                  </a:lnTo>
                  <a:lnTo>
                    <a:pt x="15709" y="0"/>
                  </a:lnTo>
                  <a:close/>
                </a:path>
                <a:path w="48895" h="15875">
                  <a:moveTo>
                    <a:pt x="48412" y="0"/>
                  </a:moveTo>
                  <a:lnTo>
                    <a:pt x="31407" y="0"/>
                  </a:lnTo>
                  <a:lnTo>
                    <a:pt x="31407" y="15709"/>
                  </a:lnTo>
                  <a:lnTo>
                    <a:pt x="48412" y="15709"/>
                  </a:lnTo>
                  <a:lnTo>
                    <a:pt x="48412" y="0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27" name="object 9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595629" y="2121143"/>
              <a:ext cx="95515" cy="95561"/>
            </a:xfrm>
            <a:prstGeom prst="rect">
              <a:avLst/>
            </a:prstGeom>
          </p:spPr>
        </p:pic>
        <p:sp>
          <p:nvSpPr>
            <p:cNvPr id="28" name="object 100"/>
            <p:cNvSpPr/>
            <p:nvPr/>
          </p:nvSpPr>
          <p:spPr>
            <a:xfrm>
              <a:off x="7187057" y="2316429"/>
              <a:ext cx="469900" cy="431165"/>
            </a:xfrm>
            <a:custGeom>
              <a:avLst/>
              <a:gdLst/>
              <a:ahLst/>
              <a:cxnLst/>
              <a:rect l="l" t="t" r="r" b="b"/>
              <a:pathLst>
                <a:path w="469900" h="431164">
                  <a:moveTo>
                    <a:pt x="204673" y="26758"/>
                  </a:moveTo>
                  <a:lnTo>
                    <a:pt x="203238" y="23939"/>
                  </a:lnTo>
                  <a:lnTo>
                    <a:pt x="203238" y="19723"/>
                  </a:lnTo>
                  <a:lnTo>
                    <a:pt x="200355" y="18313"/>
                  </a:lnTo>
                  <a:lnTo>
                    <a:pt x="193141" y="18313"/>
                  </a:lnTo>
                  <a:lnTo>
                    <a:pt x="190258" y="19723"/>
                  </a:lnTo>
                  <a:lnTo>
                    <a:pt x="187375" y="25349"/>
                  </a:lnTo>
                  <a:lnTo>
                    <a:pt x="190258" y="31000"/>
                  </a:lnTo>
                  <a:lnTo>
                    <a:pt x="191706" y="32410"/>
                  </a:lnTo>
                  <a:lnTo>
                    <a:pt x="194576" y="33820"/>
                  </a:lnTo>
                  <a:lnTo>
                    <a:pt x="197472" y="33820"/>
                  </a:lnTo>
                  <a:lnTo>
                    <a:pt x="198920" y="32410"/>
                  </a:lnTo>
                  <a:lnTo>
                    <a:pt x="200355" y="32410"/>
                  </a:lnTo>
                  <a:lnTo>
                    <a:pt x="203238" y="29591"/>
                  </a:lnTo>
                  <a:lnTo>
                    <a:pt x="204673" y="26758"/>
                  </a:lnTo>
                  <a:close/>
                </a:path>
                <a:path w="469900" h="431164">
                  <a:moveTo>
                    <a:pt x="213334" y="63385"/>
                  </a:moveTo>
                  <a:lnTo>
                    <a:pt x="211886" y="61976"/>
                  </a:lnTo>
                  <a:lnTo>
                    <a:pt x="211886" y="59169"/>
                  </a:lnTo>
                  <a:lnTo>
                    <a:pt x="208991" y="56337"/>
                  </a:lnTo>
                  <a:lnTo>
                    <a:pt x="206108" y="56337"/>
                  </a:lnTo>
                  <a:lnTo>
                    <a:pt x="204673" y="54927"/>
                  </a:lnTo>
                  <a:lnTo>
                    <a:pt x="201790" y="56337"/>
                  </a:lnTo>
                  <a:lnTo>
                    <a:pt x="200355" y="56337"/>
                  </a:lnTo>
                  <a:lnTo>
                    <a:pt x="197472" y="59169"/>
                  </a:lnTo>
                  <a:lnTo>
                    <a:pt x="196037" y="61976"/>
                  </a:lnTo>
                  <a:lnTo>
                    <a:pt x="196037" y="64795"/>
                  </a:lnTo>
                  <a:lnTo>
                    <a:pt x="197472" y="69011"/>
                  </a:lnTo>
                  <a:lnTo>
                    <a:pt x="200355" y="71831"/>
                  </a:lnTo>
                  <a:lnTo>
                    <a:pt x="204673" y="71831"/>
                  </a:lnTo>
                  <a:lnTo>
                    <a:pt x="206108" y="71831"/>
                  </a:lnTo>
                  <a:lnTo>
                    <a:pt x="206108" y="70421"/>
                  </a:lnTo>
                  <a:lnTo>
                    <a:pt x="208991" y="70421"/>
                  </a:lnTo>
                  <a:lnTo>
                    <a:pt x="211886" y="67614"/>
                  </a:lnTo>
                  <a:lnTo>
                    <a:pt x="211886" y="66205"/>
                  </a:lnTo>
                  <a:lnTo>
                    <a:pt x="213334" y="63385"/>
                  </a:lnTo>
                  <a:close/>
                </a:path>
                <a:path w="469900" h="431164">
                  <a:moveTo>
                    <a:pt x="226288" y="101409"/>
                  </a:moveTo>
                  <a:lnTo>
                    <a:pt x="224840" y="97180"/>
                  </a:lnTo>
                  <a:lnTo>
                    <a:pt x="221970" y="92964"/>
                  </a:lnTo>
                  <a:lnTo>
                    <a:pt x="217652" y="91554"/>
                  </a:lnTo>
                  <a:lnTo>
                    <a:pt x="213334" y="92964"/>
                  </a:lnTo>
                  <a:lnTo>
                    <a:pt x="208991" y="97180"/>
                  </a:lnTo>
                  <a:lnTo>
                    <a:pt x="208991" y="102806"/>
                  </a:lnTo>
                  <a:lnTo>
                    <a:pt x="210426" y="105625"/>
                  </a:lnTo>
                  <a:lnTo>
                    <a:pt x="213334" y="108445"/>
                  </a:lnTo>
                  <a:lnTo>
                    <a:pt x="216204" y="108445"/>
                  </a:lnTo>
                  <a:lnTo>
                    <a:pt x="219087" y="108445"/>
                  </a:lnTo>
                  <a:lnTo>
                    <a:pt x="219087" y="107035"/>
                  </a:lnTo>
                  <a:lnTo>
                    <a:pt x="223405" y="105625"/>
                  </a:lnTo>
                  <a:lnTo>
                    <a:pt x="226288" y="101409"/>
                  </a:lnTo>
                  <a:close/>
                </a:path>
                <a:path w="469900" h="431164">
                  <a:moveTo>
                    <a:pt x="243598" y="135204"/>
                  </a:moveTo>
                  <a:lnTo>
                    <a:pt x="240703" y="130975"/>
                  </a:lnTo>
                  <a:lnTo>
                    <a:pt x="239268" y="128168"/>
                  </a:lnTo>
                  <a:lnTo>
                    <a:pt x="233502" y="126758"/>
                  </a:lnTo>
                  <a:lnTo>
                    <a:pt x="227749" y="129565"/>
                  </a:lnTo>
                  <a:lnTo>
                    <a:pt x="227749" y="130975"/>
                  </a:lnTo>
                  <a:lnTo>
                    <a:pt x="226288" y="133794"/>
                  </a:lnTo>
                  <a:lnTo>
                    <a:pt x="226288" y="136601"/>
                  </a:lnTo>
                  <a:lnTo>
                    <a:pt x="227749" y="139420"/>
                  </a:lnTo>
                  <a:lnTo>
                    <a:pt x="229184" y="140830"/>
                  </a:lnTo>
                  <a:lnTo>
                    <a:pt x="232067" y="142240"/>
                  </a:lnTo>
                  <a:lnTo>
                    <a:pt x="237820" y="142240"/>
                  </a:lnTo>
                  <a:lnTo>
                    <a:pt x="242138" y="139420"/>
                  </a:lnTo>
                  <a:lnTo>
                    <a:pt x="243598" y="135204"/>
                  </a:lnTo>
                  <a:close/>
                </a:path>
                <a:path w="469900" h="431164">
                  <a:moveTo>
                    <a:pt x="265214" y="164769"/>
                  </a:moveTo>
                  <a:lnTo>
                    <a:pt x="259461" y="159143"/>
                  </a:lnTo>
                  <a:lnTo>
                    <a:pt x="253682" y="159143"/>
                  </a:lnTo>
                  <a:lnTo>
                    <a:pt x="250799" y="161963"/>
                  </a:lnTo>
                  <a:lnTo>
                    <a:pt x="249364" y="164769"/>
                  </a:lnTo>
                  <a:lnTo>
                    <a:pt x="249364" y="170395"/>
                  </a:lnTo>
                  <a:lnTo>
                    <a:pt x="252234" y="173215"/>
                  </a:lnTo>
                  <a:lnTo>
                    <a:pt x="255117" y="174637"/>
                  </a:lnTo>
                  <a:lnTo>
                    <a:pt x="259461" y="174637"/>
                  </a:lnTo>
                  <a:lnTo>
                    <a:pt x="260896" y="173215"/>
                  </a:lnTo>
                  <a:lnTo>
                    <a:pt x="262331" y="173215"/>
                  </a:lnTo>
                  <a:lnTo>
                    <a:pt x="265214" y="170395"/>
                  </a:lnTo>
                  <a:lnTo>
                    <a:pt x="265214" y="164769"/>
                  </a:lnTo>
                  <a:close/>
                </a:path>
                <a:path w="469900" h="431164">
                  <a:moveTo>
                    <a:pt x="294043" y="191528"/>
                  </a:moveTo>
                  <a:lnTo>
                    <a:pt x="289712" y="188722"/>
                  </a:lnTo>
                  <a:lnTo>
                    <a:pt x="286829" y="185902"/>
                  </a:lnTo>
                  <a:lnTo>
                    <a:pt x="281063" y="185902"/>
                  </a:lnTo>
                  <a:lnTo>
                    <a:pt x="278193" y="188722"/>
                  </a:lnTo>
                  <a:lnTo>
                    <a:pt x="276745" y="192938"/>
                  </a:lnTo>
                  <a:lnTo>
                    <a:pt x="276745" y="197154"/>
                  </a:lnTo>
                  <a:lnTo>
                    <a:pt x="281063" y="201383"/>
                  </a:lnTo>
                  <a:lnTo>
                    <a:pt x="289712" y="201383"/>
                  </a:lnTo>
                  <a:lnTo>
                    <a:pt x="291160" y="198564"/>
                  </a:lnTo>
                  <a:lnTo>
                    <a:pt x="294043" y="195757"/>
                  </a:lnTo>
                  <a:lnTo>
                    <a:pt x="294043" y="191528"/>
                  </a:lnTo>
                  <a:close/>
                </a:path>
                <a:path w="469900" h="431164">
                  <a:moveTo>
                    <a:pt x="327190" y="215480"/>
                  </a:moveTo>
                  <a:lnTo>
                    <a:pt x="325755" y="211251"/>
                  </a:lnTo>
                  <a:lnTo>
                    <a:pt x="321437" y="208432"/>
                  </a:lnTo>
                  <a:lnTo>
                    <a:pt x="312775" y="208432"/>
                  </a:lnTo>
                  <a:lnTo>
                    <a:pt x="311340" y="209842"/>
                  </a:lnTo>
                  <a:lnTo>
                    <a:pt x="311340" y="212661"/>
                  </a:lnTo>
                  <a:lnTo>
                    <a:pt x="309905" y="214071"/>
                  </a:lnTo>
                  <a:lnTo>
                    <a:pt x="309905" y="218287"/>
                  </a:lnTo>
                  <a:lnTo>
                    <a:pt x="311340" y="219697"/>
                  </a:lnTo>
                  <a:lnTo>
                    <a:pt x="311340" y="221107"/>
                  </a:lnTo>
                  <a:lnTo>
                    <a:pt x="314223" y="222516"/>
                  </a:lnTo>
                  <a:lnTo>
                    <a:pt x="315658" y="223913"/>
                  </a:lnTo>
                  <a:lnTo>
                    <a:pt x="319976" y="223913"/>
                  </a:lnTo>
                  <a:lnTo>
                    <a:pt x="322872" y="222516"/>
                  </a:lnTo>
                  <a:lnTo>
                    <a:pt x="324319" y="219697"/>
                  </a:lnTo>
                  <a:lnTo>
                    <a:pt x="327190" y="215480"/>
                  </a:lnTo>
                  <a:close/>
                </a:path>
                <a:path w="469900" h="431164">
                  <a:moveTo>
                    <a:pt x="361784" y="229552"/>
                  </a:moveTo>
                  <a:lnTo>
                    <a:pt x="360349" y="225323"/>
                  </a:lnTo>
                  <a:lnTo>
                    <a:pt x="354584" y="222516"/>
                  </a:lnTo>
                  <a:lnTo>
                    <a:pt x="350253" y="223913"/>
                  </a:lnTo>
                  <a:lnTo>
                    <a:pt x="345935" y="228142"/>
                  </a:lnTo>
                  <a:lnTo>
                    <a:pt x="345935" y="232384"/>
                  </a:lnTo>
                  <a:lnTo>
                    <a:pt x="348805" y="238010"/>
                  </a:lnTo>
                  <a:lnTo>
                    <a:pt x="351688" y="239420"/>
                  </a:lnTo>
                  <a:lnTo>
                    <a:pt x="356031" y="239420"/>
                  </a:lnTo>
                  <a:lnTo>
                    <a:pt x="358902" y="238010"/>
                  </a:lnTo>
                  <a:lnTo>
                    <a:pt x="361784" y="235191"/>
                  </a:lnTo>
                  <a:lnTo>
                    <a:pt x="361784" y="229552"/>
                  </a:lnTo>
                  <a:close/>
                </a:path>
                <a:path w="469900" h="431164">
                  <a:moveTo>
                    <a:pt x="469658" y="349262"/>
                  </a:moveTo>
                  <a:lnTo>
                    <a:pt x="456920" y="349262"/>
                  </a:lnTo>
                  <a:lnTo>
                    <a:pt x="456920" y="364744"/>
                  </a:lnTo>
                  <a:lnTo>
                    <a:pt x="450723" y="385152"/>
                  </a:lnTo>
                  <a:lnTo>
                    <a:pt x="437642" y="401193"/>
                  </a:lnTo>
                  <a:lnTo>
                    <a:pt x="419417" y="411683"/>
                  </a:lnTo>
                  <a:lnTo>
                    <a:pt x="397814" y="415442"/>
                  </a:lnTo>
                  <a:lnTo>
                    <a:pt x="14401" y="415442"/>
                  </a:lnTo>
                  <a:lnTo>
                    <a:pt x="14401" y="385876"/>
                  </a:lnTo>
                  <a:lnTo>
                    <a:pt x="397814" y="385876"/>
                  </a:lnTo>
                  <a:lnTo>
                    <a:pt x="407187" y="384352"/>
                  </a:lnTo>
                  <a:lnTo>
                    <a:pt x="415480" y="380060"/>
                  </a:lnTo>
                  <a:lnTo>
                    <a:pt x="422148" y="373392"/>
                  </a:lnTo>
                  <a:lnTo>
                    <a:pt x="426643" y="364744"/>
                  </a:lnTo>
                  <a:lnTo>
                    <a:pt x="456920" y="364744"/>
                  </a:lnTo>
                  <a:lnTo>
                    <a:pt x="456920" y="349262"/>
                  </a:lnTo>
                  <a:lnTo>
                    <a:pt x="415112" y="349262"/>
                  </a:lnTo>
                  <a:lnTo>
                    <a:pt x="412229" y="353479"/>
                  </a:lnTo>
                  <a:lnTo>
                    <a:pt x="412229" y="364744"/>
                  </a:lnTo>
                  <a:lnTo>
                    <a:pt x="405028" y="370382"/>
                  </a:lnTo>
                  <a:lnTo>
                    <a:pt x="386295" y="370382"/>
                  </a:lnTo>
                  <a:lnTo>
                    <a:pt x="386295" y="345033"/>
                  </a:lnTo>
                  <a:lnTo>
                    <a:pt x="410794" y="345033"/>
                  </a:lnTo>
                  <a:lnTo>
                    <a:pt x="425323" y="343471"/>
                  </a:lnTo>
                  <a:lnTo>
                    <a:pt x="438365" y="338874"/>
                  </a:lnTo>
                  <a:lnTo>
                    <a:pt x="449516" y="331368"/>
                  </a:lnTo>
                  <a:lnTo>
                    <a:pt x="451078" y="329539"/>
                  </a:lnTo>
                  <a:lnTo>
                    <a:pt x="458355" y="321094"/>
                  </a:lnTo>
                  <a:lnTo>
                    <a:pt x="465404" y="309600"/>
                  </a:lnTo>
                  <a:lnTo>
                    <a:pt x="467080" y="304190"/>
                  </a:lnTo>
                  <a:lnTo>
                    <a:pt x="469353" y="296799"/>
                  </a:lnTo>
                  <a:lnTo>
                    <a:pt x="469633" y="292925"/>
                  </a:lnTo>
                  <a:lnTo>
                    <a:pt x="469569" y="278257"/>
                  </a:lnTo>
                  <a:lnTo>
                    <a:pt x="439623" y="227444"/>
                  </a:lnTo>
                  <a:lnTo>
                    <a:pt x="393496" y="205625"/>
                  </a:lnTo>
                  <a:lnTo>
                    <a:pt x="353479" y="193865"/>
                  </a:lnTo>
                  <a:lnTo>
                    <a:pt x="312242" y="170764"/>
                  </a:lnTo>
                  <a:lnTo>
                    <a:pt x="274523" y="132334"/>
                  </a:lnTo>
                  <a:lnTo>
                    <a:pt x="245046" y="74650"/>
                  </a:lnTo>
                  <a:lnTo>
                    <a:pt x="245046" y="71831"/>
                  </a:lnTo>
                  <a:lnTo>
                    <a:pt x="243598" y="70421"/>
                  </a:lnTo>
                  <a:lnTo>
                    <a:pt x="240703" y="70421"/>
                  </a:lnTo>
                  <a:lnTo>
                    <a:pt x="239268" y="69011"/>
                  </a:lnTo>
                  <a:lnTo>
                    <a:pt x="234937" y="69011"/>
                  </a:lnTo>
                  <a:lnTo>
                    <a:pt x="230619" y="73240"/>
                  </a:lnTo>
                  <a:lnTo>
                    <a:pt x="229184" y="76060"/>
                  </a:lnTo>
                  <a:lnTo>
                    <a:pt x="229184" y="77457"/>
                  </a:lnTo>
                  <a:lnTo>
                    <a:pt x="230619" y="78867"/>
                  </a:lnTo>
                  <a:lnTo>
                    <a:pt x="244132" y="110820"/>
                  </a:lnTo>
                  <a:lnTo>
                    <a:pt x="280885" y="163639"/>
                  </a:lnTo>
                  <a:lnTo>
                    <a:pt x="323519" y="197154"/>
                  </a:lnTo>
                  <a:lnTo>
                    <a:pt x="367169" y="215582"/>
                  </a:lnTo>
                  <a:lnTo>
                    <a:pt x="390613" y="221107"/>
                  </a:lnTo>
                  <a:lnTo>
                    <a:pt x="411251" y="227876"/>
                  </a:lnTo>
                  <a:lnTo>
                    <a:pt x="443318" y="255168"/>
                  </a:lnTo>
                  <a:lnTo>
                    <a:pt x="454583" y="289407"/>
                  </a:lnTo>
                  <a:lnTo>
                    <a:pt x="453605" y="296799"/>
                  </a:lnTo>
                  <a:lnTo>
                    <a:pt x="451154" y="304190"/>
                  </a:lnTo>
                  <a:lnTo>
                    <a:pt x="282511" y="304190"/>
                  </a:lnTo>
                  <a:lnTo>
                    <a:pt x="244208" y="297065"/>
                  </a:lnTo>
                  <a:lnTo>
                    <a:pt x="177292" y="264769"/>
                  </a:lnTo>
                  <a:lnTo>
                    <a:pt x="163207" y="259219"/>
                  </a:lnTo>
                  <a:lnTo>
                    <a:pt x="148996" y="255257"/>
                  </a:lnTo>
                  <a:lnTo>
                    <a:pt x="134518" y="252882"/>
                  </a:lnTo>
                  <a:lnTo>
                    <a:pt x="119634" y="252082"/>
                  </a:lnTo>
                  <a:lnTo>
                    <a:pt x="90805" y="252082"/>
                  </a:lnTo>
                  <a:lnTo>
                    <a:pt x="86474" y="254901"/>
                  </a:lnTo>
                  <a:lnTo>
                    <a:pt x="86474" y="263359"/>
                  </a:lnTo>
                  <a:lnTo>
                    <a:pt x="90805" y="267576"/>
                  </a:lnTo>
                  <a:lnTo>
                    <a:pt x="119634" y="267576"/>
                  </a:lnTo>
                  <a:lnTo>
                    <a:pt x="132575" y="268351"/>
                  </a:lnTo>
                  <a:lnTo>
                    <a:pt x="145389" y="270573"/>
                  </a:lnTo>
                  <a:lnTo>
                    <a:pt x="157937" y="274116"/>
                  </a:lnTo>
                  <a:lnTo>
                    <a:pt x="170116" y="278866"/>
                  </a:lnTo>
                  <a:lnTo>
                    <a:pt x="224840" y="305600"/>
                  </a:lnTo>
                  <a:lnTo>
                    <a:pt x="238925" y="311365"/>
                  </a:lnTo>
                  <a:lnTo>
                    <a:pt x="253149" y="315810"/>
                  </a:lnTo>
                  <a:lnTo>
                    <a:pt x="267627" y="318668"/>
                  </a:lnTo>
                  <a:lnTo>
                    <a:pt x="282511" y="319684"/>
                  </a:lnTo>
                  <a:lnTo>
                    <a:pt x="439623" y="319684"/>
                  </a:lnTo>
                  <a:lnTo>
                    <a:pt x="433705" y="323596"/>
                  </a:lnTo>
                  <a:lnTo>
                    <a:pt x="426834" y="326720"/>
                  </a:lnTo>
                  <a:lnTo>
                    <a:pt x="419150" y="328790"/>
                  </a:lnTo>
                  <a:lnTo>
                    <a:pt x="410794" y="329539"/>
                  </a:lnTo>
                  <a:lnTo>
                    <a:pt x="370446" y="329539"/>
                  </a:lnTo>
                  <a:lnTo>
                    <a:pt x="370446" y="345033"/>
                  </a:lnTo>
                  <a:lnTo>
                    <a:pt x="370446" y="370382"/>
                  </a:lnTo>
                  <a:lnTo>
                    <a:pt x="322872" y="370382"/>
                  </a:lnTo>
                  <a:lnTo>
                    <a:pt x="322872" y="345033"/>
                  </a:lnTo>
                  <a:lnTo>
                    <a:pt x="370446" y="345033"/>
                  </a:lnTo>
                  <a:lnTo>
                    <a:pt x="370446" y="329539"/>
                  </a:lnTo>
                  <a:lnTo>
                    <a:pt x="307022" y="329539"/>
                  </a:lnTo>
                  <a:lnTo>
                    <a:pt x="307022" y="345033"/>
                  </a:lnTo>
                  <a:lnTo>
                    <a:pt x="307022" y="370382"/>
                  </a:lnTo>
                  <a:lnTo>
                    <a:pt x="95123" y="370382"/>
                  </a:lnTo>
                  <a:lnTo>
                    <a:pt x="95123" y="345033"/>
                  </a:lnTo>
                  <a:lnTo>
                    <a:pt x="109537" y="345033"/>
                  </a:lnTo>
                  <a:lnTo>
                    <a:pt x="112420" y="342214"/>
                  </a:lnTo>
                  <a:lnTo>
                    <a:pt x="112420" y="339394"/>
                  </a:lnTo>
                  <a:lnTo>
                    <a:pt x="115176" y="329539"/>
                  </a:lnTo>
                  <a:lnTo>
                    <a:pt x="125399" y="292925"/>
                  </a:lnTo>
                  <a:lnTo>
                    <a:pt x="170078" y="304190"/>
                  </a:lnTo>
                  <a:lnTo>
                    <a:pt x="224840" y="332359"/>
                  </a:lnTo>
                  <a:lnTo>
                    <a:pt x="238925" y="337908"/>
                  </a:lnTo>
                  <a:lnTo>
                    <a:pt x="253149" y="341858"/>
                  </a:lnTo>
                  <a:lnTo>
                    <a:pt x="267627" y="344246"/>
                  </a:lnTo>
                  <a:lnTo>
                    <a:pt x="282511" y="345033"/>
                  </a:lnTo>
                  <a:lnTo>
                    <a:pt x="307022" y="345033"/>
                  </a:lnTo>
                  <a:lnTo>
                    <a:pt x="307022" y="329539"/>
                  </a:lnTo>
                  <a:lnTo>
                    <a:pt x="282511" y="329539"/>
                  </a:lnTo>
                  <a:lnTo>
                    <a:pt x="269557" y="328777"/>
                  </a:lnTo>
                  <a:lnTo>
                    <a:pt x="232067" y="318274"/>
                  </a:lnTo>
                  <a:lnTo>
                    <a:pt x="180162" y="292925"/>
                  </a:lnTo>
                  <a:lnTo>
                    <a:pt x="177292" y="291515"/>
                  </a:lnTo>
                  <a:lnTo>
                    <a:pt x="163207" y="285165"/>
                  </a:lnTo>
                  <a:lnTo>
                    <a:pt x="148996" y="280784"/>
                  </a:lnTo>
                  <a:lnTo>
                    <a:pt x="134518" y="278257"/>
                  </a:lnTo>
                  <a:lnTo>
                    <a:pt x="119634" y="277431"/>
                  </a:lnTo>
                  <a:lnTo>
                    <a:pt x="109537" y="277431"/>
                  </a:lnTo>
                  <a:lnTo>
                    <a:pt x="109537" y="292925"/>
                  </a:lnTo>
                  <a:lnTo>
                    <a:pt x="99453" y="329539"/>
                  </a:lnTo>
                  <a:lnTo>
                    <a:pt x="79273" y="329539"/>
                  </a:lnTo>
                  <a:lnTo>
                    <a:pt x="79273" y="345033"/>
                  </a:lnTo>
                  <a:lnTo>
                    <a:pt x="79273" y="370382"/>
                  </a:lnTo>
                  <a:lnTo>
                    <a:pt x="47561" y="370382"/>
                  </a:lnTo>
                  <a:lnTo>
                    <a:pt x="47561" y="345033"/>
                  </a:lnTo>
                  <a:lnTo>
                    <a:pt x="79273" y="345033"/>
                  </a:lnTo>
                  <a:lnTo>
                    <a:pt x="79273" y="329539"/>
                  </a:lnTo>
                  <a:lnTo>
                    <a:pt x="23050" y="329539"/>
                  </a:lnTo>
                  <a:lnTo>
                    <a:pt x="17284" y="292925"/>
                  </a:lnTo>
                  <a:lnTo>
                    <a:pt x="109537" y="292925"/>
                  </a:lnTo>
                  <a:lnTo>
                    <a:pt x="109537" y="277431"/>
                  </a:lnTo>
                  <a:lnTo>
                    <a:pt x="14401" y="277431"/>
                  </a:lnTo>
                  <a:lnTo>
                    <a:pt x="14401" y="267576"/>
                  </a:lnTo>
                  <a:lnTo>
                    <a:pt x="70624" y="267576"/>
                  </a:lnTo>
                  <a:lnTo>
                    <a:pt x="74942" y="263359"/>
                  </a:lnTo>
                  <a:lnTo>
                    <a:pt x="74942" y="254901"/>
                  </a:lnTo>
                  <a:lnTo>
                    <a:pt x="70624" y="252082"/>
                  </a:lnTo>
                  <a:lnTo>
                    <a:pt x="14401" y="252082"/>
                  </a:lnTo>
                  <a:lnTo>
                    <a:pt x="14401" y="192938"/>
                  </a:lnTo>
                  <a:lnTo>
                    <a:pt x="22923" y="146011"/>
                  </a:lnTo>
                  <a:lnTo>
                    <a:pt x="35331" y="114871"/>
                  </a:lnTo>
                  <a:lnTo>
                    <a:pt x="39814" y="98234"/>
                  </a:lnTo>
                  <a:lnTo>
                    <a:pt x="42405" y="81076"/>
                  </a:lnTo>
                  <a:lnTo>
                    <a:pt x="43230" y="63385"/>
                  </a:lnTo>
                  <a:lnTo>
                    <a:pt x="43230" y="5651"/>
                  </a:lnTo>
                  <a:lnTo>
                    <a:pt x="213334" y="5651"/>
                  </a:lnTo>
                  <a:lnTo>
                    <a:pt x="215506" y="19113"/>
                  </a:lnTo>
                  <a:lnTo>
                    <a:pt x="217830" y="32042"/>
                  </a:lnTo>
                  <a:lnTo>
                    <a:pt x="220421" y="44450"/>
                  </a:lnTo>
                  <a:lnTo>
                    <a:pt x="223405" y="56337"/>
                  </a:lnTo>
                  <a:lnTo>
                    <a:pt x="223405" y="57734"/>
                  </a:lnTo>
                  <a:lnTo>
                    <a:pt x="224840" y="60579"/>
                  </a:lnTo>
                  <a:lnTo>
                    <a:pt x="226288" y="60579"/>
                  </a:lnTo>
                  <a:lnTo>
                    <a:pt x="229184" y="61976"/>
                  </a:lnTo>
                  <a:lnTo>
                    <a:pt x="233502" y="61976"/>
                  </a:lnTo>
                  <a:lnTo>
                    <a:pt x="236385" y="60579"/>
                  </a:lnTo>
                  <a:lnTo>
                    <a:pt x="239268" y="56337"/>
                  </a:lnTo>
                  <a:lnTo>
                    <a:pt x="237820" y="52108"/>
                  </a:lnTo>
                  <a:lnTo>
                    <a:pt x="234848" y="39204"/>
                  </a:lnTo>
                  <a:lnTo>
                    <a:pt x="232422" y="25882"/>
                  </a:lnTo>
                  <a:lnTo>
                    <a:pt x="230530" y="12306"/>
                  </a:lnTo>
                  <a:lnTo>
                    <a:pt x="229882" y="5651"/>
                  </a:lnTo>
                  <a:lnTo>
                    <a:pt x="229323" y="0"/>
                  </a:lnTo>
                  <a:lnTo>
                    <a:pt x="27381" y="0"/>
                  </a:lnTo>
                  <a:lnTo>
                    <a:pt x="27381" y="63385"/>
                  </a:lnTo>
                  <a:lnTo>
                    <a:pt x="26568" y="79197"/>
                  </a:lnTo>
                  <a:lnTo>
                    <a:pt x="24142" y="94894"/>
                  </a:lnTo>
                  <a:lnTo>
                    <a:pt x="20078" y="110312"/>
                  </a:lnTo>
                  <a:lnTo>
                    <a:pt x="14401" y="125349"/>
                  </a:lnTo>
                  <a:lnTo>
                    <a:pt x="7899" y="141452"/>
                  </a:lnTo>
                  <a:lnTo>
                    <a:pt x="3416" y="158089"/>
                  </a:lnTo>
                  <a:lnTo>
                    <a:pt x="825" y="175247"/>
                  </a:lnTo>
                  <a:lnTo>
                    <a:pt x="0" y="192938"/>
                  </a:lnTo>
                  <a:lnTo>
                    <a:pt x="0" y="285889"/>
                  </a:lnTo>
                  <a:lnTo>
                    <a:pt x="2806" y="304190"/>
                  </a:lnTo>
                  <a:lnTo>
                    <a:pt x="5461" y="320344"/>
                  </a:lnTo>
                  <a:lnTo>
                    <a:pt x="8623" y="337908"/>
                  </a:lnTo>
                  <a:lnTo>
                    <a:pt x="8636" y="342214"/>
                  </a:lnTo>
                  <a:lnTo>
                    <a:pt x="12966" y="345033"/>
                  </a:lnTo>
                  <a:lnTo>
                    <a:pt x="31699" y="345033"/>
                  </a:lnTo>
                  <a:lnTo>
                    <a:pt x="31699" y="370382"/>
                  </a:lnTo>
                  <a:lnTo>
                    <a:pt x="2870" y="370382"/>
                  </a:lnTo>
                  <a:lnTo>
                    <a:pt x="0" y="374611"/>
                  </a:lnTo>
                  <a:lnTo>
                    <a:pt x="0" y="428117"/>
                  </a:lnTo>
                  <a:lnTo>
                    <a:pt x="2870" y="430936"/>
                  </a:lnTo>
                  <a:lnTo>
                    <a:pt x="397814" y="430936"/>
                  </a:lnTo>
                  <a:lnTo>
                    <a:pt x="427393" y="425234"/>
                  </a:lnTo>
                  <a:lnTo>
                    <a:pt x="442645" y="415442"/>
                  </a:lnTo>
                  <a:lnTo>
                    <a:pt x="451688" y="409638"/>
                  </a:lnTo>
                  <a:lnTo>
                    <a:pt x="468160" y="386384"/>
                  </a:lnTo>
                  <a:lnTo>
                    <a:pt x="469658" y="379234"/>
                  </a:lnTo>
                  <a:lnTo>
                    <a:pt x="469658" y="364744"/>
                  </a:lnTo>
                  <a:lnTo>
                    <a:pt x="469658" y="349262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101"/>
            <p:cNvSpPr/>
            <p:nvPr/>
          </p:nvSpPr>
          <p:spPr>
            <a:xfrm>
              <a:off x="7552588" y="3760901"/>
              <a:ext cx="721360" cy="1913255"/>
            </a:xfrm>
            <a:custGeom>
              <a:avLst/>
              <a:gdLst/>
              <a:ahLst/>
              <a:cxnLst/>
              <a:rect l="l" t="t" r="r" b="b"/>
              <a:pathLst>
                <a:path w="721359" h="1913254">
                  <a:moveTo>
                    <a:pt x="267169" y="1685772"/>
                  </a:moveTo>
                  <a:lnTo>
                    <a:pt x="267131" y="1654276"/>
                  </a:lnTo>
                  <a:lnTo>
                    <a:pt x="257644" y="1644751"/>
                  </a:lnTo>
                  <a:lnTo>
                    <a:pt x="257644" y="1661934"/>
                  </a:lnTo>
                  <a:lnTo>
                    <a:pt x="257644" y="1677212"/>
                  </a:lnTo>
                  <a:lnTo>
                    <a:pt x="217716" y="1717306"/>
                  </a:lnTo>
                  <a:lnTo>
                    <a:pt x="201549" y="1717306"/>
                  </a:lnTo>
                  <a:lnTo>
                    <a:pt x="190131" y="1705851"/>
                  </a:lnTo>
                  <a:lnTo>
                    <a:pt x="212001" y="1683893"/>
                  </a:lnTo>
                  <a:lnTo>
                    <a:pt x="226275" y="1669567"/>
                  </a:lnTo>
                  <a:lnTo>
                    <a:pt x="211721" y="1655241"/>
                  </a:lnTo>
                  <a:lnTo>
                    <a:pt x="207251" y="1650847"/>
                  </a:lnTo>
                  <a:lnTo>
                    <a:pt x="207251" y="1669567"/>
                  </a:lnTo>
                  <a:lnTo>
                    <a:pt x="192989" y="1683893"/>
                  </a:lnTo>
                  <a:lnTo>
                    <a:pt x="192989" y="1655241"/>
                  </a:lnTo>
                  <a:lnTo>
                    <a:pt x="207251" y="1669567"/>
                  </a:lnTo>
                  <a:lnTo>
                    <a:pt x="207251" y="1650847"/>
                  </a:lnTo>
                  <a:lnTo>
                    <a:pt x="179692" y="1623745"/>
                  </a:lnTo>
                  <a:lnTo>
                    <a:pt x="179692" y="1900631"/>
                  </a:lnTo>
                  <a:lnTo>
                    <a:pt x="152107" y="1900631"/>
                  </a:lnTo>
                  <a:lnTo>
                    <a:pt x="141643" y="1890128"/>
                  </a:lnTo>
                  <a:lnTo>
                    <a:pt x="141643" y="1755495"/>
                  </a:lnTo>
                  <a:lnTo>
                    <a:pt x="128333" y="1755495"/>
                  </a:lnTo>
                  <a:lnTo>
                    <a:pt x="128333" y="1890128"/>
                  </a:lnTo>
                  <a:lnTo>
                    <a:pt x="118833" y="1900631"/>
                  </a:lnTo>
                  <a:lnTo>
                    <a:pt x="90309" y="1900631"/>
                  </a:lnTo>
                  <a:lnTo>
                    <a:pt x="90309" y="1726857"/>
                  </a:lnTo>
                  <a:lnTo>
                    <a:pt x="90309" y="1717306"/>
                  </a:lnTo>
                  <a:lnTo>
                    <a:pt x="90309" y="1683893"/>
                  </a:lnTo>
                  <a:lnTo>
                    <a:pt x="90309" y="1655241"/>
                  </a:lnTo>
                  <a:lnTo>
                    <a:pt x="90309" y="1623745"/>
                  </a:lnTo>
                  <a:lnTo>
                    <a:pt x="77000" y="1637118"/>
                  </a:lnTo>
                  <a:lnTo>
                    <a:pt x="77000" y="1655241"/>
                  </a:lnTo>
                  <a:lnTo>
                    <a:pt x="77000" y="1683893"/>
                  </a:lnTo>
                  <a:lnTo>
                    <a:pt x="62750" y="1669567"/>
                  </a:lnTo>
                  <a:lnTo>
                    <a:pt x="77000" y="1655241"/>
                  </a:lnTo>
                  <a:lnTo>
                    <a:pt x="77000" y="1637118"/>
                  </a:lnTo>
                  <a:lnTo>
                    <a:pt x="44678" y="1669567"/>
                  </a:lnTo>
                  <a:lnTo>
                    <a:pt x="79857" y="1705851"/>
                  </a:lnTo>
                  <a:lnTo>
                    <a:pt x="68440" y="1717306"/>
                  </a:lnTo>
                  <a:lnTo>
                    <a:pt x="53238" y="1717306"/>
                  </a:lnTo>
                  <a:lnTo>
                    <a:pt x="13309" y="1677212"/>
                  </a:lnTo>
                  <a:lnTo>
                    <a:pt x="13309" y="1661934"/>
                  </a:lnTo>
                  <a:lnTo>
                    <a:pt x="81749" y="1593189"/>
                  </a:lnTo>
                  <a:lnTo>
                    <a:pt x="92214" y="1593189"/>
                  </a:lnTo>
                  <a:lnTo>
                    <a:pt x="112776" y="1642478"/>
                  </a:lnTo>
                  <a:lnTo>
                    <a:pt x="117767" y="1654314"/>
                  </a:lnTo>
                  <a:lnTo>
                    <a:pt x="125488" y="1672437"/>
                  </a:lnTo>
                  <a:lnTo>
                    <a:pt x="144513" y="1672437"/>
                  </a:lnTo>
                  <a:lnTo>
                    <a:pt x="150393" y="1659064"/>
                  </a:lnTo>
                  <a:lnTo>
                    <a:pt x="157695" y="1642478"/>
                  </a:lnTo>
                  <a:lnTo>
                    <a:pt x="164960" y="1625574"/>
                  </a:lnTo>
                  <a:lnTo>
                    <a:pt x="168173" y="1618005"/>
                  </a:lnTo>
                  <a:lnTo>
                    <a:pt x="178739" y="1593189"/>
                  </a:lnTo>
                  <a:lnTo>
                    <a:pt x="189179" y="1593189"/>
                  </a:lnTo>
                  <a:lnTo>
                    <a:pt x="257644" y="1661934"/>
                  </a:lnTo>
                  <a:lnTo>
                    <a:pt x="257644" y="1644751"/>
                  </a:lnTo>
                  <a:lnTo>
                    <a:pt x="206298" y="1593189"/>
                  </a:lnTo>
                  <a:lnTo>
                    <a:pt x="193941" y="1580769"/>
                  </a:lnTo>
                  <a:lnTo>
                    <a:pt x="169227" y="1580769"/>
                  </a:lnTo>
                  <a:lnTo>
                    <a:pt x="189179" y="1559763"/>
                  </a:lnTo>
                  <a:lnTo>
                    <a:pt x="189179" y="1516799"/>
                  </a:lnTo>
                  <a:lnTo>
                    <a:pt x="185000" y="1495806"/>
                  </a:lnTo>
                  <a:lnTo>
                    <a:pt x="175869" y="1482064"/>
                  </a:lnTo>
                  <a:lnTo>
                    <a:pt x="175869" y="1516799"/>
                  </a:lnTo>
                  <a:lnTo>
                    <a:pt x="175869" y="1554035"/>
                  </a:lnTo>
                  <a:lnTo>
                    <a:pt x="164465" y="1565922"/>
                  </a:lnTo>
                  <a:lnTo>
                    <a:pt x="164465" y="1593189"/>
                  </a:lnTo>
                  <a:lnTo>
                    <a:pt x="154012" y="1618005"/>
                  </a:lnTo>
                  <a:lnTo>
                    <a:pt x="151155" y="1593189"/>
                  </a:lnTo>
                  <a:lnTo>
                    <a:pt x="164465" y="1593189"/>
                  </a:lnTo>
                  <a:lnTo>
                    <a:pt x="164465" y="1565922"/>
                  </a:lnTo>
                  <a:lnTo>
                    <a:pt x="150202" y="1580769"/>
                  </a:lnTo>
                  <a:lnTo>
                    <a:pt x="142595" y="1580769"/>
                  </a:lnTo>
                  <a:lnTo>
                    <a:pt x="142595" y="1642833"/>
                  </a:lnTo>
                  <a:lnTo>
                    <a:pt x="135953" y="1659064"/>
                  </a:lnTo>
                  <a:lnTo>
                    <a:pt x="134048" y="1659064"/>
                  </a:lnTo>
                  <a:lnTo>
                    <a:pt x="127393" y="1642833"/>
                  </a:lnTo>
                  <a:lnTo>
                    <a:pt x="129768" y="1618005"/>
                  </a:lnTo>
                  <a:lnTo>
                    <a:pt x="132156" y="1593189"/>
                  </a:lnTo>
                  <a:lnTo>
                    <a:pt x="137845" y="1593189"/>
                  </a:lnTo>
                  <a:lnTo>
                    <a:pt x="142595" y="1642833"/>
                  </a:lnTo>
                  <a:lnTo>
                    <a:pt x="142595" y="1580769"/>
                  </a:lnTo>
                  <a:lnTo>
                    <a:pt x="119786" y="1580769"/>
                  </a:lnTo>
                  <a:lnTo>
                    <a:pt x="118833" y="1579778"/>
                  </a:lnTo>
                  <a:lnTo>
                    <a:pt x="118833" y="1593189"/>
                  </a:lnTo>
                  <a:lnTo>
                    <a:pt x="116928" y="1618005"/>
                  </a:lnTo>
                  <a:lnTo>
                    <a:pt x="106464" y="1593189"/>
                  </a:lnTo>
                  <a:lnTo>
                    <a:pt x="118833" y="1593189"/>
                  </a:lnTo>
                  <a:lnTo>
                    <a:pt x="118833" y="1579778"/>
                  </a:lnTo>
                  <a:lnTo>
                    <a:pt x="94107" y="1554035"/>
                  </a:lnTo>
                  <a:lnTo>
                    <a:pt x="94107" y="1516799"/>
                  </a:lnTo>
                  <a:lnTo>
                    <a:pt x="97294" y="1500720"/>
                  </a:lnTo>
                  <a:lnTo>
                    <a:pt x="105994" y="1487678"/>
                  </a:lnTo>
                  <a:lnTo>
                    <a:pt x="118986" y="1478940"/>
                  </a:lnTo>
                  <a:lnTo>
                    <a:pt x="135001" y="1475740"/>
                  </a:lnTo>
                  <a:lnTo>
                    <a:pt x="151015" y="1478940"/>
                  </a:lnTo>
                  <a:lnTo>
                    <a:pt x="163995" y="1487678"/>
                  </a:lnTo>
                  <a:lnTo>
                    <a:pt x="172694" y="1500720"/>
                  </a:lnTo>
                  <a:lnTo>
                    <a:pt x="175869" y="1516799"/>
                  </a:lnTo>
                  <a:lnTo>
                    <a:pt x="175869" y="1482064"/>
                  </a:lnTo>
                  <a:lnTo>
                    <a:pt x="173494" y="1478483"/>
                  </a:lnTo>
                  <a:lnTo>
                    <a:pt x="169506" y="1475740"/>
                  </a:lnTo>
                  <a:lnTo>
                    <a:pt x="156298" y="1466710"/>
                  </a:lnTo>
                  <a:lnTo>
                    <a:pt x="135001" y="1462366"/>
                  </a:lnTo>
                  <a:lnTo>
                    <a:pt x="114096" y="1466710"/>
                  </a:lnTo>
                  <a:lnTo>
                    <a:pt x="96850" y="1478483"/>
                  </a:lnTo>
                  <a:lnTo>
                    <a:pt x="85128" y="1495806"/>
                  </a:lnTo>
                  <a:lnTo>
                    <a:pt x="80797" y="1516799"/>
                  </a:lnTo>
                  <a:lnTo>
                    <a:pt x="80797" y="1559763"/>
                  </a:lnTo>
                  <a:lnTo>
                    <a:pt x="101727" y="1580769"/>
                  </a:lnTo>
                  <a:lnTo>
                    <a:pt x="76060" y="1580769"/>
                  </a:lnTo>
                  <a:lnTo>
                    <a:pt x="0" y="1657146"/>
                  </a:lnTo>
                  <a:lnTo>
                    <a:pt x="0" y="1682940"/>
                  </a:lnTo>
                  <a:lnTo>
                    <a:pt x="47523" y="1730667"/>
                  </a:lnTo>
                  <a:lnTo>
                    <a:pt x="74155" y="1730667"/>
                  </a:lnTo>
                  <a:lnTo>
                    <a:pt x="77000" y="1726857"/>
                  </a:lnTo>
                  <a:lnTo>
                    <a:pt x="77000" y="1913051"/>
                  </a:lnTo>
                  <a:lnTo>
                    <a:pt x="124536" y="1913051"/>
                  </a:lnTo>
                  <a:lnTo>
                    <a:pt x="135001" y="1902548"/>
                  </a:lnTo>
                  <a:lnTo>
                    <a:pt x="146405" y="1913051"/>
                  </a:lnTo>
                  <a:lnTo>
                    <a:pt x="192989" y="1913051"/>
                  </a:lnTo>
                  <a:lnTo>
                    <a:pt x="192989" y="1902548"/>
                  </a:lnTo>
                  <a:lnTo>
                    <a:pt x="192989" y="1900631"/>
                  </a:lnTo>
                  <a:lnTo>
                    <a:pt x="192989" y="1726857"/>
                  </a:lnTo>
                  <a:lnTo>
                    <a:pt x="196799" y="1730667"/>
                  </a:lnTo>
                  <a:lnTo>
                    <a:pt x="222465" y="1730667"/>
                  </a:lnTo>
                  <a:lnTo>
                    <a:pt x="226263" y="1726857"/>
                  </a:lnTo>
                  <a:lnTo>
                    <a:pt x="235775" y="1717306"/>
                  </a:lnTo>
                  <a:lnTo>
                    <a:pt x="267169" y="1685772"/>
                  </a:lnTo>
                  <a:close/>
                </a:path>
                <a:path w="721359" h="1913254">
                  <a:moveTo>
                    <a:pt x="721245" y="415823"/>
                  </a:moveTo>
                  <a:lnTo>
                    <a:pt x="719950" y="411734"/>
                  </a:lnTo>
                  <a:lnTo>
                    <a:pt x="711250" y="395897"/>
                  </a:lnTo>
                  <a:lnTo>
                    <a:pt x="711250" y="462343"/>
                  </a:lnTo>
                  <a:lnTo>
                    <a:pt x="710463" y="473900"/>
                  </a:lnTo>
                  <a:lnTo>
                    <a:pt x="708291" y="485457"/>
                  </a:lnTo>
                  <a:lnTo>
                    <a:pt x="705015" y="497014"/>
                  </a:lnTo>
                  <a:lnTo>
                    <a:pt x="700913" y="508571"/>
                  </a:lnTo>
                  <a:lnTo>
                    <a:pt x="684618" y="545007"/>
                  </a:lnTo>
                  <a:lnTo>
                    <a:pt x="507072" y="545007"/>
                  </a:lnTo>
                  <a:lnTo>
                    <a:pt x="468604" y="465150"/>
                  </a:lnTo>
                  <a:lnTo>
                    <a:pt x="461645" y="447878"/>
                  </a:lnTo>
                  <a:lnTo>
                    <a:pt x="458431" y="429945"/>
                  </a:lnTo>
                  <a:lnTo>
                    <a:pt x="458825" y="411734"/>
                  </a:lnTo>
                  <a:lnTo>
                    <a:pt x="490791" y="294220"/>
                  </a:lnTo>
                  <a:lnTo>
                    <a:pt x="512851" y="258559"/>
                  </a:lnTo>
                  <a:lnTo>
                    <a:pt x="560336" y="222770"/>
                  </a:lnTo>
                  <a:lnTo>
                    <a:pt x="562229" y="239217"/>
                  </a:lnTo>
                  <a:lnTo>
                    <a:pt x="567728" y="254635"/>
                  </a:lnTo>
                  <a:lnTo>
                    <a:pt x="576567" y="268465"/>
                  </a:lnTo>
                  <a:lnTo>
                    <a:pt x="588454" y="280200"/>
                  </a:lnTo>
                  <a:lnTo>
                    <a:pt x="563295" y="312420"/>
                  </a:lnTo>
                  <a:lnTo>
                    <a:pt x="560336" y="315226"/>
                  </a:lnTo>
                  <a:lnTo>
                    <a:pt x="560336" y="316623"/>
                  </a:lnTo>
                  <a:lnTo>
                    <a:pt x="557441" y="376885"/>
                  </a:lnTo>
                  <a:lnTo>
                    <a:pt x="557377" y="383882"/>
                  </a:lnTo>
                  <a:lnTo>
                    <a:pt x="561809" y="388086"/>
                  </a:lnTo>
                  <a:lnTo>
                    <a:pt x="570687" y="388086"/>
                  </a:lnTo>
                  <a:lnTo>
                    <a:pt x="585495" y="383882"/>
                  </a:lnTo>
                  <a:lnTo>
                    <a:pt x="583552" y="391223"/>
                  </a:lnTo>
                  <a:lnTo>
                    <a:pt x="582155" y="398424"/>
                  </a:lnTo>
                  <a:lnTo>
                    <a:pt x="581329" y="405358"/>
                  </a:lnTo>
                  <a:lnTo>
                    <a:pt x="581152" y="409524"/>
                  </a:lnTo>
                  <a:lnTo>
                    <a:pt x="581050" y="417512"/>
                  </a:lnTo>
                  <a:lnTo>
                    <a:pt x="585495" y="421716"/>
                  </a:lnTo>
                  <a:lnTo>
                    <a:pt x="595845" y="421716"/>
                  </a:lnTo>
                  <a:lnTo>
                    <a:pt x="600290" y="417512"/>
                  </a:lnTo>
                  <a:lnTo>
                    <a:pt x="600290" y="411734"/>
                  </a:lnTo>
                  <a:lnTo>
                    <a:pt x="600811" y="403517"/>
                  </a:lnTo>
                  <a:lnTo>
                    <a:pt x="610641" y="374078"/>
                  </a:lnTo>
                  <a:lnTo>
                    <a:pt x="610641" y="365671"/>
                  </a:lnTo>
                  <a:lnTo>
                    <a:pt x="610641" y="308229"/>
                  </a:lnTo>
                  <a:lnTo>
                    <a:pt x="610641" y="290017"/>
                  </a:lnTo>
                  <a:lnTo>
                    <a:pt x="612978" y="278320"/>
                  </a:lnTo>
                  <a:lnTo>
                    <a:pt x="619340" y="268998"/>
                  </a:lnTo>
                  <a:lnTo>
                    <a:pt x="627875" y="263398"/>
                  </a:lnTo>
                  <a:lnTo>
                    <a:pt x="628738" y="262826"/>
                  </a:lnTo>
                  <a:lnTo>
                    <a:pt x="640232" y="260591"/>
                  </a:lnTo>
                  <a:lnTo>
                    <a:pt x="652576" y="262826"/>
                  </a:lnTo>
                  <a:lnTo>
                    <a:pt x="662432" y="268998"/>
                  </a:lnTo>
                  <a:lnTo>
                    <a:pt x="668959" y="278320"/>
                  </a:lnTo>
                  <a:lnTo>
                    <a:pt x="671309" y="290017"/>
                  </a:lnTo>
                  <a:lnTo>
                    <a:pt x="671309" y="376885"/>
                  </a:lnTo>
                  <a:lnTo>
                    <a:pt x="674255" y="378282"/>
                  </a:lnTo>
                  <a:lnTo>
                    <a:pt x="690029" y="396532"/>
                  </a:lnTo>
                  <a:lnTo>
                    <a:pt x="701636" y="417156"/>
                  </a:lnTo>
                  <a:lnTo>
                    <a:pt x="708799" y="439356"/>
                  </a:lnTo>
                  <a:lnTo>
                    <a:pt x="711250" y="462343"/>
                  </a:lnTo>
                  <a:lnTo>
                    <a:pt x="711250" y="395897"/>
                  </a:lnTo>
                  <a:lnTo>
                    <a:pt x="707390" y="388861"/>
                  </a:lnTo>
                  <a:lnTo>
                    <a:pt x="690549" y="368477"/>
                  </a:lnTo>
                  <a:lnTo>
                    <a:pt x="690549" y="282994"/>
                  </a:lnTo>
                  <a:lnTo>
                    <a:pt x="707656" y="263398"/>
                  </a:lnTo>
                  <a:lnTo>
                    <a:pt x="710730" y="259867"/>
                  </a:lnTo>
                  <a:lnTo>
                    <a:pt x="719950" y="232397"/>
                  </a:lnTo>
                  <a:lnTo>
                    <a:pt x="717791" y="203619"/>
                  </a:lnTo>
                  <a:lnTo>
                    <a:pt x="703859" y="176530"/>
                  </a:lnTo>
                  <a:lnTo>
                    <a:pt x="700798" y="173507"/>
                  </a:lnTo>
                  <a:lnTo>
                    <a:pt x="700798" y="222237"/>
                  </a:lnTo>
                  <a:lnTo>
                    <a:pt x="700786" y="223989"/>
                  </a:lnTo>
                  <a:lnTo>
                    <a:pt x="699795" y="234238"/>
                  </a:lnTo>
                  <a:lnTo>
                    <a:pt x="696455" y="245198"/>
                  </a:lnTo>
                  <a:lnTo>
                    <a:pt x="690918" y="255079"/>
                  </a:lnTo>
                  <a:lnTo>
                    <a:pt x="683145" y="263398"/>
                  </a:lnTo>
                  <a:lnTo>
                    <a:pt x="680935" y="260591"/>
                  </a:lnTo>
                  <a:lnTo>
                    <a:pt x="678713" y="257797"/>
                  </a:lnTo>
                  <a:lnTo>
                    <a:pt x="674255" y="253593"/>
                  </a:lnTo>
                  <a:lnTo>
                    <a:pt x="668350" y="250786"/>
                  </a:lnTo>
                  <a:lnTo>
                    <a:pt x="674357" y="242366"/>
                  </a:lnTo>
                  <a:lnTo>
                    <a:pt x="677519" y="237909"/>
                  </a:lnTo>
                  <a:lnTo>
                    <a:pt x="680618" y="223989"/>
                  </a:lnTo>
                  <a:lnTo>
                    <a:pt x="680516" y="222237"/>
                  </a:lnTo>
                  <a:lnTo>
                    <a:pt x="678129" y="209016"/>
                  </a:lnTo>
                  <a:lnTo>
                    <a:pt x="675233" y="204546"/>
                  </a:lnTo>
                  <a:lnTo>
                    <a:pt x="669823" y="196138"/>
                  </a:lnTo>
                  <a:lnTo>
                    <a:pt x="660958" y="190868"/>
                  </a:lnTo>
                  <a:lnTo>
                    <a:pt x="660958" y="222770"/>
                  </a:lnTo>
                  <a:lnTo>
                    <a:pt x="659384" y="230555"/>
                  </a:lnTo>
                  <a:lnTo>
                    <a:pt x="655040" y="236766"/>
                  </a:lnTo>
                  <a:lnTo>
                    <a:pt x="648462" y="240880"/>
                  </a:lnTo>
                  <a:lnTo>
                    <a:pt x="640232" y="242366"/>
                  </a:lnTo>
                  <a:lnTo>
                    <a:pt x="632853" y="240880"/>
                  </a:lnTo>
                  <a:lnTo>
                    <a:pt x="626732" y="236766"/>
                  </a:lnTo>
                  <a:lnTo>
                    <a:pt x="622554" y="230555"/>
                  </a:lnTo>
                  <a:lnTo>
                    <a:pt x="621144" y="223469"/>
                  </a:lnTo>
                  <a:lnTo>
                    <a:pt x="621118" y="222237"/>
                  </a:lnTo>
                  <a:lnTo>
                    <a:pt x="622554" y="215785"/>
                  </a:lnTo>
                  <a:lnTo>
                    <a:pt x="626732" y="209981"/>
                  </a:lnTo>
                  <a:lnTo>
                    <a:pt x="632853" y="206006"/>
                  </a:lnTo>
                  <a:lnTo>
                    <a:pt x="640232" y="204546"/>
                  </a:lnTo>
                  <a:lnTo>
                    <a:pt x="648462" y="206006"/>
                  </a:lnTo>
                  <a:lnTo>
                    <a:pt x="655040" y="209981"/>
                  </a:lnTo>
                  <a:lnTo>
                    <a:pt x="659384" y="215785"/>
                  </a:lnTo>
                  <a:lnTo>
                    <a:pt x="660958" y="222770"/>
                  </a:lnTo>
                  <a:lnTo>
                    <a:pt x="660958" y="190868"/>
                  </a:lnTo>
                  <a:lnTo>
                    <a:pt x="656259" y="188061"/>
                  </a:lnTo>
                  <a:lnTo>
                    <a:pt x="641159" y="185115"/>
                  </a:lnTo>
                  <a:lnTo>
                    <a:pt x="626338" y="187667"/>
                  </a:lnTo>
                  <a:lnTo>
                    <a:pt x="613600" y="196138"/>
                  </a:lnTo>
                  <a:lnTo>
                    <a:pt x="604418" y="208203"/>
                  </a:lnTo>
                  <a:lnTo>
                    <a:pt x="601205" y="222237"/>
                  </a:lnTo>
                  <a:lnTo>
                    <a:pt x="603821" y="236537"/>
                  </a:lnTo>
                  <a:lnTo>
                    <a:pt x="612127" y="249389"/>
                  </a:lnTo>
                  <a:lnTo>
                    <a:pt x="613600" y="250786"/>
                  </a:lnTo>
                  <a:lnTo>
                    <a:pt x="607682" y="253593"/>
                  </a:lnTo>
                  <a:lnTo>
                    <a:pt x="603250" y="257797"/>
                  </a:lnTo>
                  <a:lnTo>
                    <a:pt x="598805" y="263398"/>
                  </a:lnTo>
                  <a:lnTo>
                    <a:pt x="591413" y="253314"/>
                  </a:lnTo>
                  <a:lnTo>
                    <a:pt x="591413" y="308229"/>
                  </a:lnTo>
                  <a:lnTo>
                    <a:pt x="591413" y="362877"/>
                  </a:lnTo>
                  <a:lnTo>
                    <a:pt x="578091" y="365671"/>
                  </a:lnTo>
                  <a:lnTo>
                    <a:pt x="581050" y="320827"/>
                  </a:lnTo>
                  <a:lnTo>
                    <a:pt x="591413" y="308229"/>
                  </a:lnTo>
                  <a:lnTo>
                    <a:pt x="591413" y="253314"/>
                  </a:lnTo>
                  <a:lnTo>
                    <a:pt x="585457" y="245186"/>
                  </a:lnTo>
                  <a:lnTo>
                    <a:pt x="580859" y="223989"/>
                  </a:lnTo>
                  <a:lnTo>
                    <a:pt x="581088" y="222770"/>
                  </a:lnTo>
                  <a:lnTo>
                    <a:pt x="584860" y="202514"/>
                  </a:lnTo>
                  <a:lnTo>
                    <a:pt x="617118" y="170929"/>
                  </a:lnTo>
                  <a:lnTo>
                    <a:pt x="640232" y="166712"/>
                  </a:lnTo>
                  <a:lnTo>
                    <a:pt x="664070" y="171132"/>
                  </a:lnTo>
                  <a:lnTo>
                    <a:pt x="683336" y="183184"/>
                  </a:lnTo>
                  <a:lnTo>
                    <a:pt x="696214" y="201002"/>
                  </a:lnTo>
                  <a:lnTo>
                    <a:pt x="700798" y="222237"/>
                  </a:lnTo>
                  <a:lnTo>
                    <a:pt x="700798" y="173507"/>
                  </a:lnTo>
                  <a:lnTo>
                    <a:pt x="696696" y="169456"/>
                  </a:lnTo>
                  <a:lnTo>
                    <a:pt x="693267" y="166712"/>
                  </a:lnTo>
                  <a:lnTo>
                    <a:pt x="688695" y="163042"/>
                  </a:lnTo>
                  <a:lnTo>
                    <a:pt x="680148" y="157416"/>
                  </a:lnTo>
                  <a:lnTo>
                    <a:pt x="671309" y="152717"/>
                  </a:lnTo>
                  <a:lnTo>
                    <a:pt x="671309" y="148513"/>
                  </a:lnTo>
                  <a:lnTo>
                    <a:pt x="671309" y="128892"/>
                  </a:lnTo>
                  <a:lnTo>
                    <a:pt x="715683" y="128892"/>
                  </a:lnTo>
                  <a:lnTo>
                    <a:pt x="720140" y="124688"/>
                  </a:lnTo>
                  <a:lnTo>
                    <a:pt x="720140" y="109283"/>
                  </a:lnTo>
                  <a:lnTo>
                    <a:pt x="720140" y="91059"/>
                  </a:lnTo>
                  <a:lnTo>
                    <a:pt x="720140" y="75653"/>
                  </a:lnTo>
                  <a:lnTo>
                    <a:pt x="715683" y="71450"/>
                  </a:lnTo>
                  <a:lnTo>
                    <a:pt x="700913" y="71450"/>
                  </a:lnTo>
                  <a:lnTo>
                    <a:pt x="700913" y="91059"/>
                  </a:lnTo>
                  <a:lnTo>
                    <a:pt x="700913" y="109283"/>
                  </a:lnTo>
                  <a:lnTo>
                    <a:pt x="671309" y="109283"/>
                  </a:lnTo>
                  <a:lnTo>
                    <a:pt x="671309" y="91059"/>
                  </a:lnTo>
                  <a:lnTo>
                    <a:pt x="700913" y="91059"/>
                  </a:lnTo>
                  <a:lnTo>
                    <a:pt x="700913" y="71450"/>
                  </a:lnTo>
                  <a:lnTo>
                    <a:pt x="671309" y="71450"/>
                  </a:lnTo>
                  <a:lnTo>
                    <a:pt x="671309" y="53225"/>
                  </a:lnTo>
                  <a:lnTo>
                    <a:pt x="715683" y="53225"/>
                  </a:lnTo>
                  <a:lnTo>
                    <a:pt x="720140" y="49034"/>
                  </a:lnTo>
                  <a:lnTo>
                    <a:pt x="720140" y="33629"/>
                  </a:lnTo>
                  <a:lnTo>
                    <a:pt x="720140" y="15405"/>
                  </a:lnTo>
                  <a:lnTo>
                    <a:pt x="720140" y="0"/>
                  </a:lnTo>
                  <a:lnTo>
                    <a:pt x="700913" y="0"/>
                  </a:lnTo>
                  <a:lnTo>
                    <a:pt x="700913" y="15405"/>
                  </a:lnTo>
                  <a:lnTo>
                    <a:pt x="700913" y="33629"/>
                  </a:lnTo>
                  <a:lnTo>
                    <a:pt x="671309" y="33629"/>
                  </a:lnTo>
                  <a:lnTo>
                    <a:pt x="671309" y="15405"/>
                  </a:lnTo>
                  <a:lnTo>
                    <a:pt x="700913" y="15405"/>
                  </a:lnTo>
                  <a:lnTo>
                    <a:pt x="700913" y="0"/>
                  </a:lnTo>
                  <a:lnTo>
                    <a:pt x="650595" y="0"/>
                  </a:lnTo>
                  <a:lnTo>
                    <a:pt x="650595" y="15405"/>
                  </a:lnTo>
                  <a:lnTo>
                    <a:pt x="650595" y="148513"/>
                  </a:lnTo>
                  <a:lnTo>
                    <a:pt x="644677" y="147104"/>
                  </a:lnTo>
                  <a:lnTo>
                    <a:pt x="637286" y="147104"/>
                  </a:lnTo>
                  <a:lnTo>
                    <a:pt x="631355" y="148513"/>
                  </a:lnTo>
                  <a:lnTo>
                    <a:pt x="631355" y="15405"/>
                  </a:lnTo>
                  <a:lnTo>
                    <a:pt x="650595" y="15405"/>
                  </a:lnTo>
                  <a:lnTo>
                    <a:pt x="650595" y="0"/>
                  </a:lnTo>
                  <a:lnTo>
                    <a:pt x="610641" y="0"/>
                  </a:lnTo>
                  <a:lnTo>
                    <a:pt x="610641" y="152717"/>
                  </a:lnTo>
                  <a:lnTo>
                    <a:pt x="596011" y="160286"/>
                  </a:lnTo>
                  <a:lnTo>
                    <a:pt x="583450" y="170230"/>
                  </a:lnTo>
                  <a:lnTo>
                    <a:pt x="573392" y="182270"/>
                  </a:lnTo>
                  <a:lnTo>
                    <a:pt x="566254" y="196138"/>
                  </a:lnTo>
                  <a:lnTo>
                    <a:pt x="564781" y="196138"/>
                  </a:lnTo>
                  <a:lnTo>
                    <a:pt x="557377" y="201739"/>
                  </a:lnTo>
                  <a:lnTo>
                    <a:pt x="511505" y="233972"/>
                  </a:lnTo>
                  <a:lnTo>
                    <a:pt x="498195" y="245491"/>
                  </a:lnTo>
                  <a:lnTo>
                    <a:pt x="471563" y="290017"/>
                  </a:lnTo>
                  <a:lnTo>
                    <a:pt x="443445" y="388086"/>
                  </a:lnTo>
                  <a:lnTo>
                    <a:pt x="439813" y="409524"/>
                  </a:lnTo>
                  <a:lnTo>
                    <a:pt x="439928" y="431342"/>
                  </a:lnTo>
                  <a:lnTo>
                    <a:pt x="450850" y="473544"/>
                  </a:lnTo>
                  <a:lnTo>
                    <a:pt x="492277" y="559015"/>
                  </a:lnTo>
                  <a:lnTo>
                    <a:pt x="496709" y="563219"/>
                  </a:lnTo>
                  <a:lnTo>
                    <a:pt x="694982" y="563219"/>
                  </a:lnTo>
                  <a:lnTo>
                    <a:pt x="697941" y="561822"/>
                  </a:lnTo>
                  <a:lnTo>
                    <a:pt x="699414" y="557618"/>
                  </a:lnTo>
                  <a:lnTo>
                    <a:pt x="705192" y="545007"/>
                  </a:lnTo>
                  <a:lnTo>
                    <a:pt x="718654" y="515581"/>
                  </a:lnTo>
                  <a:lnTo>
                    <a:pt x="721245" y="509638"/>
                  </a:lnTo>
                  <a:lnTo>
                    <a:pt x="721245" y="415823"/>
                  </a:lnTo>
                  <a:close/>
                </a:path>
              </a:pathLst>
            </a:custGeom>
            <a:solidFill>
              <a:srgbClr val="0082C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0" name="object 10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464170" y="5433331"/>
              <a:ext cx="159716" cy="195737"/>
            </a:xfrm>
            <a:prstGeom prst="rect">
              <a:avLst/>
            </a:prstGeom>
          </p:spPr>
        </p:pic>
        <p:sp>
          <p:nvSpPr>
            <p:cNvPr id="31" name="object 103"/>
            <p:cNvSpPr/>
            <p:nvPr/>
          </p:nvSpPr>
          <p:spPr>
            <a:xfrm>
              <a:off x="6333490" y="5217541"/>
              <a:ext cx="1400810" cy="1028700"/>
            </a:xfrm>
            <a:custGeom>
              <a:avLst/>
              <a:gdLst/>
              <a:ahLst/>
              <a:cxnLst/>
              <a:rect l="l" t="t" r="r" b="b"/>
              <a:pathLst>
                <a:path w="1400809" h="1028700">
                  <a:moveTo>
                    <a:pt x="247154" y="988263"/>
                  </a:moveTo>
                  <a:lnTo>
                    <a:pt x="243687" y="984821"/>
                  </a:lnTo>
                  <a:lnTo>
                    <a:pt x="239077" y="984821"/>
                  </a:lnTo>
                  <a:lnTo>
                    <a:pt x="191706" y="984821"/>
                  </a:lnTo>
                  <a:lnTo>
                    <a:pt x="188252" y="988263"/>
                  </a:lnTo>
                  <a:lnTo>
                    <a:pt x="188252" y="996276"/>
                  </a:lnTo>
                  <a:lnTo>
                    <a:pt x="191706" y="999718"/>
                  </a:lnTo>
                  <a:lnTo>
                    <a:pt x="243687" y="999718"/>
                  </a:lnTo>
                  <a:lnTo>
                    <a:pt x="247154" y="996276"/>
                  </a:lnTo>
                  <a:lnTo>
                    <a:pt x="247154" y="988263"/>
                  </a:lnTo>
                  <a:close/>
                </a:path>
                <a:path w="1400809" h="1028700">
                  <a:moveTo>
                    <a:pt x="431977" y="712050"/>
                  </a:moveTo>
                  <a:lnTo>
                    <a:pt x="431279" y="711047"/>
                  </a:lnTo>
                  <a:lnTo>
                    <a:pt x="427037" y="705040"/>
                  </a:lnTo>
                  <a:lnTo>
                    <a:pt x="421551" y="701636"/>
                  </a:lnTo>
                  <a:lnTo>
                    <a:pt x="421551" y="716788"/>
                  </a:lnTo>
                  <a:lnTo>
                    <a:pt x="421551" y="956183"/>
                  </a:lnTo>
                  <a:lnTo>
                    <a:pt x="421551" y="971080"/>
                  </a:lnTo>
                  <a:lnTo>
                    <a:pt x="421551" y="1007732"/>
                  </a:lnTo>
                  <a:lnTo>
                    <a:pt x="414629" y="1013460"/>
                  </a:lnTo>
                  <a:lnTo>
                    <a:pt x="20777" y="1013460"/>
                  </a:lnTo>
                  <a:lnTo>
                    <a:pt x="13855" y="1007732"/>
                  </a:lnTo>
                  <a:lnTo>
                    <a:pt x="13855" y="971080"/>
                  </a:lnTo>
                  <a:lnTo>
                    <a:pt x="32334" y="971080"/>
                  </a:lnTo>
                  <a:lnTo>
                    <a:pt x="403072" y="971080"/>
                  </a:lnTo>
                  <a:lnTo>
                    <a:pt x="421551" y="971080"/>
                  </a:lnTo>
                  <a:lnTo>
                    <a:pt x="421551" y="956183"/>
                  </a:lnTo>
                  <a:lnTo>
                    <a:pt x="406539" y="956183"/>
                  </a:lnTo>
                  <a:lnTo>
                    <a:pt x="406539" y="739686"/>
                  </a:lnTo>
                  <a:lnTo>
                    <a:pt x="406539" y="728230"/>
                  </a:lnTo>
                  <a:lnTo>
                    <a:pt x="403072" y="724801"/>
                  </a:lnTo>
                  <a:lnTo>
                    <a:pt x="392671" y="724801"/>
                  </a:lnTo>
                  <a:lnTo>
                    <a:pt x="392671" y="739686"/>
                  </a:lnTo>
                  <a:lnTo>
                    <a:pt x="392671" y="956183"/>
                  </a:lnTo>
                  <a:lnTo>
                    <a:pt x="42722" y="956183"/>
                  </a:lnTo>
                  <a:lnTo>
                    <a:pt x="42722" y="739686"/>
                  </a:lnTo>
                  <a:lnTo>
                    <a:pt x="392671" y="739686"/>
                  </a:lnTo>
                  <a:lnTo>
                    <a:pt x="392671" y="724801"/>
                  </a:lnTo>
                  <a:lnTo>
                    <a:pt x="32334" y="724801"/>
                  </a:lnTo>
                  <a:lnTo>
                    <a:pt x="28867" y="728230"/>
                  </a:lnTo>
                  <a:lnTo>
                    <a:pt x="28867" y="956183"/>
                  </a:lnTo>
                  <a:lnTo>
                    <a:pt x="13855" y="956183"/>
                  </a:lnTo>
                  <a:lnTo>
                    <a:pt x="13855" y="716788"/>
                  </a:lnTo>
                  <a:lnTo>
                    <a:pt x="20777" y="711047"/>
                  </a:lnTo>
                  <a:lnTo>
                    <a:pt x="414629" y="711047"/>
                  </a:lnTo>
                  <a:lnTo>
                    <a:pt x="421551" y="716788"/>
                  </a:lnTo>
                  <a:lnTo>
                    <a:pt x="421551" y="701636"/>
                  </a:lnTo>
                  <a:lnTo>
                    <a:pt x="417868" y="699350"/>
                  </a:lnTo>
                  <a:lnTo>
                    <a:pt x="412877" y="698449"/>
                  </a:lnTo>
                  <a:lnTo>
                    <a:pt x="22517" y="698449"/>
                  </a:lnTo>
                  <a:lnTo>
                    <a:pt x="17538" y="699350"/>
                  </a:lnTo>
                  <a:lnTo>
                    <a:pt x="8369" y="705040"/>
                  </a:lnTo>
                  <a:lnTo>
                    <a:pt x="2235" y="713740"/>
                  </a:lnTo>
                  <a:lnTo>
                    <a:pt x="0" y="724801"/>
                  </a:lnTo>
                  <a:lnTo>
                    <a:pt x="0" y="959624"/>
                  </a:lnTo>
                  <a:lnTo>
                    <a:pt x="0" y="967638"/>
                  </a:lnTo>
                  <a:lnTo>
                    <a:pt x="0" y="999718"/>
                  </a:lnTo>
                  <a:lnTo>
                    <a:pt x="2235" y="1010958"/>
                  </a:lnTo>
                  <a:lnTo>
                    <a:pt x="8369" y="1020051"/>
                  </a:lnTo>
                  <a:lnTo>
                    <a:pt x="17538" y="1026134"/>
                  </a:lnTo>
                  <a:lnTo>
                    <a:pt x="28867" y="1028357"/>
                  </a:lnTo>
                  <a:lnTo>
                    <a:pt x="406539" y="1028357"/>
                  </a:lnTo>
                  <a:lnTo>
                    <a:pt x="417868" y="1026134"/>
                  </a:lnTo>
                  <a:lnTo>
                    <a:pt x="427037" y="1020051"/>
                  </a:lnTo>
                  <a:lnTo>
                    <a:pt x="431482" y="1013460"/>
                  </a:lnTo>
                  <a:lnTo>
                    <a:pt x="431977" y="1012723"/>
                  </a:lnTo>
                  <a:lnTo>
                    <a:pt x="431977" y="971080"/>
                  </a:lnTo>
                  <a:lnTo>
                    <a:pt x="431977" y="956183"/>
                  </a:lnTo>
                  <a:lnTo>
                    <a:pt x="431977" y="712050"/>
                  </a:lnTo>
                  <a:close/>
                </a:path>
                <a:path w="1400809" h="1028700">
                  <a:moveTo>
                    <a:pt x="1390230" y="346608"/>
                  </a:moveTo>
                  <a:lnTo>
                    <a:pt x="1376921" y="346608"/>
                  </a:lnTo>
                  <a:lnTo>
                    <a:pt x="1376921" y="426808"/>
                  </a:lnTo>
                  <a:lnTo>
                    <a:pt x="1390230" y="426808"/>
                  </a:lnTo>
                  <a:lnTo>
                    <a:pt x="1390230" y="346608"/>
                  </a:lnTo>
                  <a:close/>
                </a:path>
                <a:path w="1400809" h="1028700">
                  <a:moveTo>
                    <a:pt x="1390230" y="324650"/>
                  </a:moveTo>
                  <a:lnTo>
                    <a:pt x="1376921" y="324650"/>
                  </a:lnTo>
                  <a:lnTo>
                    <a:pt x="1376921" y="337058"/>
                  </a:lnTo>
                  <a:lnTo>
                    <a:pt x="1390230" y="337058"/>
                  </a:lnTo>
                  <a:lnTo>
                    <a:pt x="1390230" y="324650"/>
                  </a:lnTo>
                  <a:close/>
                </a:path>
                <a:path w="1400809" h="1028700">
                  <a:moveTo>
                    <a:pt x="1390230" y="301726"/>
                  </a:moveTo>
                  <a:lnTo>
                    <a:pt x="1376921" y="301726"/>
                  </a:lnTo>
                  <a:lnTo>
                    <a:pt x="1376921" y="315099"/>
                  </a:lnTo>
                  <a:lnTo>
                    <a:pt x="1390230" y="315099"/>
                  </a:lnTo>
                  <a:lnTo>
                    <a:pt x="1390230" y="301726"/>
                  </a:lnTo>
                  <a:close/>
                </a:path>
                <a:path w="1400809" h="1028700">
                  <a:moveTo>
                    <a:pt x="1400683" y="52514"/>
                  </a:moveTo>
                  <a:lnTo>
                    <a:pt x="1389646" y="10947"/>
                  </a:lnTo>
                  <a:lnTo>
                    <a:pt x="1366151" y="0"/>
                  </a:lnTo>
                  <a:lnTo>
                    <a:pt x="1341399" y="0"/>
                  </a:lnTo>
                  <a:lnTo>
                    <a:pt x="1308963" y="27787"/>
                  </a:lnTo>
                  <a:lnTo>
                    <a:pt x="1306563" y="59207"/>
                  </a:lnTo>
                  <a:lnTo>
                    <a:pt x="1309814" y="57251"/>
                  </a:lnTo>
                  <a:lnTo>
                    <a:pt x="1318323" y="52870"/>
                  </a:lnTo>
                  <a:lnTo>
                    <a:pt x="1330223" y="48323"/>
                  </a:lnTo>
                  <a:lnTo>
                    <a:pt x="1343634" y="45834"/>
                  </a:lnTo>
                  <a:lnTo>
                    <a:pt x="1348270" y="49161"/>
                  </a:lnTo>
                  <a:lnTo>
                    <a:pt x="1360754" y="55270"/>
                  </a:lnTo>
                  <a:lnTo>
                    <a:pt x="1378927" y="58318"/>
                  </a:lnTo>
                  <a:lnTo>
                    <a:pt x="1400683" y="52514"/>
                  </a:lnTo>
                  <a:close/>
                </a:path>
              </a:pathLst>
            </a:custGeom>
            <a:solidFill>
              <a:srgbClr val="0082C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2" name="object 104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6435127" y="6230997"/>
              <a:ext cx="232143" cy="100804"/>
            </a:xfrm>
            <a:prstGeom prst="rect">
              <a:avLst/>
            </a:prstGeom>
          </p:spPr>
        </p:pic>
        <p:pic>
          <p:nvPicPr>
            <p:cNvPr id="33" name="object 10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6427041" y="5972112"/>
              <a:ext cx="256396" cy="186719"/>
            </a:xfrm>
            <a:prstGeom prst="rect">
              <a:avLst/>
            </a:prstGeom>
          </p:spPr>
        </p:pic>
        <p:sp>
          <p:nvSpPr>
            <p:cNvPr id="34" name="object 106"/>
            <p:cNvSpPr/>
            <p:nvPr/>
          </p:nvSpPr>
          <p:spPr>
            <a:xfrm>
              <a:off x="4178300" y="4545088"/>
              <a:ext cx="1388745" cy="1555115"/>
            </a:xfrm>
            <a:custGeom>
              <a:avLst/>
              <a:gdLst/>
              <a:ahLst/>
              <a:cxnLst/>
              <a:rect l="l" t="t" r="r" b="b"/>
              <a:pathLst>
                <a:path w="1388745" h="1555114">
                  <a:moveTo>
                    <a:pt x="99822" y="54216"/>
                  </a:moveTo>
                  <a:lnTo>
                    <a:pt x="98869" y="46596"/>
                  </a:lnTo>
                  <a:lnTo>
                    <a:pt x="88417" y="36131"/>
                  </a:lnTo>
                  <a:lnTo>
                    <a:pt x="88417" y="51371"/>
                  </a:lnTo>
                  <a:lnTo>
                    <a:pt x="87464" y="56121"/>
                  </a:lnTo>
                  <a:lnTo>
                    <a:pt x="87464" y="66586"/>
                  </a:lnTo>
                  <a:lnTo>
                    <a:pt x="88417" y="69430"/>
                  </a:lnTo>
                  <a:lnTo>
                    <a:pt x="82702" y="75145"/>
                  </a:lnTo>
                  <a:lnTo>
                    <a:pt x="79857" y="76098"/>
                  </a:lnTo>
                  <a:lnTo>
                    <a:pt x="71297" y="76098"/>
                  </a:lnTo>
                  <a:lnTo>
                    <a:pt x="71297" y="46596"/>
                  </a:lnTo>
                  <a:lnTo>
                    <a:pt x="81762" y="46596"/>
                  </a:lnTo>
                  <a:lnTo>
                    <a:pt x="84607" y="48501"/>
                  </a:lnTo>
                  <a:lnTo>
                    <a:pt x="88417" y="51371"/>
                  </a:lnTo>
                  <a:lnTo>
                    <a:pt x="88417" y="36131"/>
                  </a:lnTo>
                  <a:lnTo>
                    <a:pt x="58940" y="36131"/>
                  </a:lnTo>
                  <a:lnTo>
                    <a:pt x="58940" y="76098"/>
                  </a:lnTo>
                  <a:lnTo>
                    <a:pt x="52285" y="76098"/>
                  </a:lnTo>
                  <a:lnTo>
                    <a:pt x="52285" y="86563"/>
                  </a:lnTo>
                  <a:lnTo>
                    <a:pt x="58940" y="86563"/>
                  </a:lnTo>
                  <a:lnTo>
                    <a:pt x="58940" y="93205"/>
                  </a:lnTo>
                  <a:lnTo>
                    <a:pt x="52285" y="93205"/>
                  </a:lnTo>
                  <a:lnTo>
                    <a:pt x="52285" y="103670"/>
                  </a:lnTo>
                  <a:lnTo>
                    <a:pt x="58940" y="103670"/>
                  </a:lnTo>
                  <a:lnTo>
                    <a:pt x="58940" y="119837"/>
                  </a:lnTo>
                  <a:lnTo>
                    <a:pt x="71297" y="119837"/>
                  </a:lnTo>
                  <a:lnTo>
                    <a:pt x="71297" y="103670"/>
                  </a:lnTo>
                  <a:lnTo>
                    <a:pt x="79857" y="103670"/>
                  </a:lnTo>
                  <a:lnTo>
                    <a:pt x="79857" y="93205"/>
                  </a:lnTo>
                  <a:lnTo>
                    <a:pt x="71297" y="93205"/>
                  </a:lnTo>
                  <a:lnTo>
                    <a:pt x="71297" y="86563"/>
                  </a:lnTo>
                  <a:lnTo>
                    <a:pt x="83654" y="86563"/>
                  </a:lnTo>
                  <a:lnTo>
                    <a:pt x="90309" y="85610"/>
                  </a:lnTo>
                  <a:lnTo>
                    <a:pt x="99822" y="74193"/>
                  </a:lnTo>
                  <a:lnTo>
                    <a:pt x="99822" y="54216"/>
                  </a:lnTo>
                  <a:close/>
                </a:path>
                <a:path w="1388745" h="1555114">
                  <a:moveTo>
                    <a:pt x="103619" y="274294"/>
                  </a:moveTo>
                  <a:lnTo>
                    <a:pt x="92214" y="274294"/>
                  </a:lnTo>
                  <a:lnTo>
                    <a:pt x="92214" y="285724"/>
                  </a:lnTo>
                  <a:lnTo>
                    <a:pt x="92214" y="297154"/>
                  </a:lnTo>
                  <a:lnTo>
                    <a:pt x="11404" y="297154"/>
                  </a:lnTo>
                  <a:lnTo>
                    <a:pt x="11404" y="285724"/>
                  </a:lnTo>
                  <a:lnTo>
                    <a:pt x="92214" y="285724"/>
                  </a:lnTo>
                  <a:lnTo>
                    <a:pt x="92214" y="274294"/>
                  </a:lnTo>
                  <a:lnTo>
                    <a:pt x="0" y="274294"/>
                  </a:lnTo>
                  <a:lnTo>
                    <a:pt x="0" y="285724"/>
                  </a:lnTo>
                  <a:lnTo>
                    <a:pt x="0" y="297154"/>
                  </a:lnTo>
                  <a:lnTo>
                    <a:pt x="0" y="355587"/>
                  </a:lnTo>
                  <a:lnTo>
                    <a:pt x="103619" y="355587"/>
                  </a:lnTo>
                  <a:lnTo>
                    <a:pt x="103619" y="343369"/>
                  </a:lnTo>
                  <a:lnTo>
                    <a:pt x="103619" y="342887"/>
                  </a:lnTo>
                  <a:lnTo>
                    <a:pt x="103619" y="331952"/>
                  </a:lnTo>
                  <a:lnTo>
                    <a:pt x="92214" y="331952"/>
                  </a:lnTo>
                  <a:lnTo>
                    <a:pt x="92214" y="342887"/>
                  </a:lnTo>
                  <a:lnTo>
                    <a:pt x="11404" y="342887"/>
                  </a:lnTo>
                  <a:lnTo>
                    <a:pt x="11404" y="331457"/>
                  </a:lnTo>
                  <a:lnTo>
                    <a:pt x="103619" y="331457"/>
                  </a:lnTo>
                  <a:lnTo>
                    <a:pt x="103619" y="320548"/>
                  </a:lnTo>
                  <a:lnTo>
                    <a:pt x="103619" y="320027"/>
                  </a:lnTo>
                  <a:lnTo>
                    <a:pt x="103619" y="309130"/>
                  </a:lnTo>
                  <a:lnTo>
                    <a:pt x="92214" y="309130"/>
                  </a:lnTo>
                  <a:lnTo>
                    <a:pt x="92214" y="320027"/>
                  </a:lnTo>
                  <a:lnTo>
                    <a:pt x="11404" y="320027"/>
                  </a:lnTo>
                  <a:lnTo>
                    <a:pt x="11404" y="308597"/>
                  </a:lnTo>
                  <a:lnTo>
                    <a:pt x="103619" y="308597"/>
                  </a:lnTo>
                  <a:lnTo>
                    <a:pt x="103619" y="297713"/>
                  </a:lnTo>
                  <a:lnTo>
                    <a:pt x="103619" y="297154"/>
                  </a:lnTo>
                  <a:lnTo>
                    <a:pt x="103619" y="285724"/>
                  </a:lnTo>
                  <a:lnTo>
                    <a:pt x="103619" y="285356"/>
                  </a:lnTo>
                  <a:lnTo>
                    <a:pt x="103619" y="274294"/>
                  </a:lnTo>
                  <a:close/>
                </a:path>
                <a:path w="1388745" h="1555114">
                  <a:moveTo>
                    <a:pt x="219621" y="227291"/>
                  </a:moveTo>
                  <a:lnTo>
                    <a:pt x="115036" y="227291"/>
                  </a:lnTo>
                  <a:lnTo>
                    <a:pt x="115036" y="239991"/>
                  </a:lnTo>
                  <a:lnTo>
                    <a:pt x="115036" y="251434"/>
                  </a:lnTo>
                  <a:lnTo>
                    <a:pt x="115036" y="354317"/>
                  </a:lnTo>
                  <a:lnTo>
                    <a:pt x="219621" y="354317"/>
                  </a:lnTo>
                  <a:lnTo>
                    <a:pt x="219621" y="274294"/>
                  </a:lnTo>
                  <a:lnTo>
                    <a:pt x="208203" y="274294"/>
                  </a:lnTo>
                  <a:lnTo>
                    <a:pt x="208203" y="285724"/>
                  </a:lnTo>
                  <a:lnTo>
                    <a:pt x="208203" y="297154"/>
                  </a:lnTo>
                  <a:lnTo>
                    <a:pt x="208203" y="308597"/>
                  </a:lnTo>
                  <a:lnTo>
                    <a:pt x="208203" y="320027"/>
                  </a:lnTo>
                  <a:lnTo>
                    <a:pt x="150215" y="320027"/>
                  </a:lnTo>
                  <a:lnTo>
                    <a:pt x="150215" y="331457"/>
                  </a:lnTo>
                  <a:lnTo>
                    <a:pt x="208203" y="331457"/>
                  </a:lnTo>
                  <a:lnTo>
                    <a:pt x="208203" y="342887"/>
                  </a:lnTo>
                  <a:lnTo>
                    <a:pt x="127393" y="342887"/>
                  </a:lnTo>
                  <a:lnTo>
                    <a:pt x="127393" y="331457"/>
                  </a:lnTo>
                  <a:lnTo>
                    <a:pt x="138798" y="331457"/>
                  </a:lnTo>
                  <a:lnTo>
                    <a:pt x="138798" y="320027"/>
                  </a:lnTo>
                  <a:lnTo>
                    <a:pt x="127393" y="320027"/>
                  </a:lnTo>
                  <a:lnTo>
                    <a:pt x="127393" y="308597"/>
                  </a:lnTo>
                  <a:lnTo>
                    <a:pt x="208203" y="308597"/>
                  </a:lnTo>
                  <a:lnTo>
                    <a:pt x="208203" y="297154"/>
                  </a:lnTo>
                  <a:lnTo>
                    <a:pt x="127393" y="297154"/>
                  </a:lnTo>
                  <a:lnTo>
                    <a:pt x="127393" y="285724"/>
                  </a:lnTo>
                  <a:lnTo>
                    <a:pt x="208203" y="285724"/>
                  </a:lnTo>
                  <a:lnTo>
                    <a:pt x="208203" y="274294"/>
                  </a:lnTo>
                  <a:lnTo>
                    <a:pt x="127393" y="274294"/>
                  </a:lnTo>
                  <a:lnTo>
                    <a:pt x="127393" y="262864"/>
                  </a:lnTo>
                  <a:lnTo>
                    <a:pt x="208203" y="262864"/>
                  </a:lnTo>
                  <a:lnTo>
                    <a:pt x="208203" y="273939"/>
                  </a:lnTo>
                  <a:lnTo>
                    <a:pt x="219621" y="273939"/>
                  </a:lnTo>
                  <a:lnTo>
                    <a:pt x="219621" y="262864"/>
                  </a:lnTo>
                  <a:lnTo>
                    <a:pt x="219621" y="262521"/>
                  </a:lnTo>
                  <a:lnTo>
                    <a:pt x="219621" y="251434"/>
                  </a:lnTo>
                  <a:lnTo>
                    <a:pt x="127393" y="251434"/>
                  </a:lnTo>
                  <a:lnTo>
                    <a:pt x="127393" y="239991"/>
                  </a:lnTo>
                  <a:lnTo>
                    <a:pt x="208203" y="239991"/>
                  </a:lnTo>
                  <a:lnTo>
                    <a:pt x="208203" y="251104"/>
                  </a:lnTo>
                  <a:lnTo>
                    <a:pt x="219621" y="251104"/>
                  </a:lnTo>
                  <a:lnTo>
                    <a:pt x="219621" y="239991"/>
                  </a:lnTo>
                  <a:lnTo>
                    <a:pt x="219621" y="239699"/>
                  </a:lnTo>
                  <a:lnTo>
                    <a:pt x="219621" y="227291"/>
                  </a:lnTo>
                  <a:close/>
                </a:path>
                <a:path w="1388745" h="1555114">
                  <a:moveTo>
                    <a:pt x="335597" y="181559"/>
                  </a:moveTo>
                  <a:lnTo>
                    <a:pt x="231013" y="181559"/>
                  </a:lnTo>
                  <a:lnTo>
                    <a:pt x="231013" y="193001"/>
                  </a:lnTo>
                  <a:lnTo>
                    <a:pt x="231013" y="204431"/>
                  </a:lnTo>
                  <a:lnTo>
                    <a:pt x="231013" y="355587"/>
                  </a:lnTo>
                  <a:lnTo>
                    <a:pt x="335597" y="355587"/>
                  </a:lnTo>
                  <a:lnTo>
                    <a:pt x="335597" y="343369"/>
                  </a:lnTo>
                  <a:lnTo>
                    <a:pt x="335597" y="342887"/>
                  </a:lnTo>
                  <a:lnTo>
                    <a:pt x="335597" y="331952"/>
                  </a:lnTo>
                  <a:lnTo>
                    <a:pt x="324192" y="331952"/>
                  </a:lnTo>
                  <a:lnTo>
                    <a:pt x="324192" y="342887"/>
                  </a:lnTo>
                  <a:lnTo>
                    <a:pt x="243382" y="342887"/>
                  </a:lnTo>
                  <a:lnTo>
                    <a:pt x="243382" y="331457"/>
                  </a:lnTo>
                  <a:lnTo>
                    <a:pt x="335597" y="331457"/>
                  </a:lnTo>
                  <a:lnTo>
                    <a:pt x="335597" y="320548"/>
                  </a:lnTo>
                  <a:lnTo>
                    <a:pt x="335597" y="320027"/>
                  </a:lnTo>
                  <a:lnTo>
                    <a:pt x="335597" y="309130"/>
                  </a:lnTo>
                  <a:lnTo>
                    <a:pt x="324192" y="309130"/>
                  </a:lnTo>
                  <a:lnTo>
                    <a:pt x="324192" y="320027"/>
                  </a:lnTo>
                  <a:lnTo>
                    <a:pt x="243382" y="320027"/>
                  </a:lnTo>
                  <a:lnTo>
                    <a:pt x="243382" y="308597"/>
                  </a:lnTo>
                  <a:lnTo>
                    <a:pt x="335597" y="308597"/>
                  </a:lnTo>
                  <a:lnTo>
                    <a:pt x="335597" y="297713"/>
                  </a:lnTo>
                  <a:lnTo>
                    <a:pt x="335597" y="297154"/>
                  </a:lnTo>
                  <a:lnTo>
                    <a:pt x="335597" y="285724"/>
                  </a:lnTo>
                  <a:lnTo>
                    <a:pt x="335597" y="285356"/>
                  </a:lnTo>
                  <a:lnTo>
                    <a:pt x="335597" y="274294"/>
                  </a:lnTo>
                  <a:lnTo>
                    <a:pt x="324192" y="274294"/>
                  </a:lnTo>
                  <a:lnTo>
                    <a:pt x="324192" y="285724"/>
                  </a:lnTo>
                  <a:lnTo>
                    <a:pt x="324192" y="297154"/>
                  </a:lnTo>
                  <a:lnTo>
                    <a:pt x="243382" y="297154"/>
                  </a:lnTo>
                  <a:lnTo>
                    <a:pt x="243382" y="285724"/>
                  </a:lnTo>
                  <a:lnTo>
                    <a:pt x="324192" y="285724"/>
                  </a:lnTo>
                  <a:lnTo>
                    <a:pt x="324192" y="274294"/>
                  </a:lnTo>
                  <a:lnTo>
                    <a:pt x="243382" y="274294"/>
                  </a:lnTo>
                  <a:lnTo>
                    <a:pt x="243382" y="262864"/>
                  </a:lnTo>
                  <a:lnTo>
                    <a:pt x="324192" y="262864"/>
                  </a:lnTo>
                  <a:lnTo>
                    <a:pt x="324192" y="273939"/>
                  </a:lnTo>
                  <a:lnTo>
                    <a:pt x="335597" y="273939"/>
                  </a:lnTo>
                  <a:lnTo>
                    <a:pt x="335597" y="193090"/>
                  </a:lnTo>
                  <a:lnTo>
                    <a:pt x="324192" y="193090"/>
                  </a:lnTo>
                  <a:lnTo>
                    <a:pt x="324192" y="204431"/>
                  </a:lnTo>
                  <a:lnTo>
                    <a:pt x="324192" y="215861"/>
                  </a:lnTo>
                  <a:lnTo>
                    <a:pt x="324192" y="227291"/>
                  </a:lnTo>
                  <a:lnTo>
                    <a:pt x="312775" y="227291"/>
                  </a:lnTo>
                  <a:lnTo>
                    <a:pt x="312775" y="239991"/>
                  </a:lnTo>
                  <a:lnTo>
                    <a:pt x="324192" y="239991"/>
                  </a:lnTo>
                  <a:lnTo>
                    <a:pt x="324192" y="251434"/>
                  </a:lnTo>
                  <a:lnTo>
                    <a:pt x="243382" y="251434"/>
                  </a:lnTo>
                  <a:lnTo>
                    <a:pt x="243382" y="239991"/>
                  </a:lnTo>
                  <a:lnTo>
                    <a:pt x="300418" y="239991"/>
                  </a:lnTo>
                  <a:lnTo>
                    <a:pt x="300418" y="227291"/>
                  </a:lnTo>
                  <a:lnTo>
                    <a:pt x="243382" y="227291"/>
                  </a:lnTo>
                  <a:lnTo>
                    <a:pt x="243382" y="215861"/>
                  </a:lnTo>
                  <a:lnTo>
                    <a:pt x="324192" y="215861"/>
                  </a:lnTo>
                  <a:lnTo>
                    <a:pt x="324192" y="204431"/>
                  </a:lnTo>
                  <a:lnTo>
                    <a:pt x="243382" y="204431"/>
                  </a:lnTo>
                  <a:lnTo>
                    <a:pt x="243382" y="193001"/>
                  </a:lnTo>
                  <a:lnTo>
                    <a:pt x="335597" y="193001"/>
                  </a:lnTo>
                  <a:lnTo>
                    <a:pt x="335597" y="181559"/>
                  </a:lnTo>
                  <a:close/>
                </a:path>
                <a:path w="1388745" h="1555114">
                  <a:moveTo>
                    <a:pt x="355587" y="0"/>
                  </a:moveTo>
                  <a:lnTo>
                    <a:pt x="259143" y="0"/>
                  </a:lnTo>
                  <a:lnTo>
                    <a:pt x="254787" y="3810"/>
                  </a:lnTo>
                  <a:lnTo>
                    <a:pt x="254787" y="22821"/>
                  </a:lnTo>
                  <a:lnTo>
                    <a:pt x="262394" y="30441"/>
                  </a:lnTo>
                  <a:lnTo>
                    <a:pt x="298526" y="30441"/>
                  </a:lnTo>
                  <a:lnTo>
                    <a:pt x="212953" y="116039"/>
                  </a:lnTo>
                  <a:lnTo>
                    <a:pt x="190144" y="101777"/>
                  </a:lnTo>
                  <a:lnTo>
                    <a:pt x="167322" y="87515"/>
                  </a:lnTo>
                  <a:lnTo>
                    <a:pt x="1892" y="216865"/>
                  </a:lnTo>
                  <a:lnTo>
                    <a:pt x="8547" y="226377"/>
                  </a:lnTo>
                  <a:lnTo>
                    <a:pt x="168275" y="101777"/>
                  </a:lnTo>
                  <a:lnTo>
                    <a:pt x="214858" y="130302"/>
                  </a:lnTo>
                  <a:lnTo>
                    <a:pt x="229120" y="116039"/>
                  </a:lnTo>
                  <a:lnTo>
                    <a:pt x="326097" y="19024"/>
                  </a:lnTo>
                  <a:lnTo>
                    <a:pt x="269049" y="19024"/>
                  </a:lnTo>
                  <a:lnTo>
                    <a:pt x="266192" y="16167"/>
                  </a:lnTo>
                  <a:lnTo>
                    <a:pt x="266192" y="9512"/>
                  </a:lnTo>
                  <a:lnTo>
                    <a:pt x="269049" y="7607"/>
                  </a:lnTo>
                  <a:lnTo>
                    <a:pt x="347002" y="7607"/>
                  </a:lnTo>
                  <a:lnTo>
                    <a:pt x="347002" y="85610"/>
                  </a:lnTo>
                  <a:lnTo>
                    <a:pt x="345109" y="88455"/>
                  </a:lnTo>
                  <a:lnTo>
                    <a:pt x="338455" y="88455"/>
                  </a:lnTo>
                  <a:lnTo>
                    <a:pt x="335597" y="85610"/>
                  </a:lnTo>
                  <a:lnTo>
                    <a:pt x="335597" y="61836"/>
                  </a:lnTo>
                  <a:lnTo>
                    <a:pt x="335597" y="34239"/>
                  </a:lnTo>
                  <a:lnTo>
                    <a:pt x="218655" y="151231"/>
                  </a:lnTo>
                  <a:lnTo>
                    <a:pt x="192163" y="136017"/>
                  </a:lnTo>
                  <a:lnTo>
                    <a:pt x="167322" y="121754"/>
                  </a:lnTo>
                  <a:lnTo>
                    <a:pt x="19011" y="240639"/>
                  </a:lnTo>
                  <a:lnTo>
                    <a:pt x="26619" y="249212"/>
                  </a:lnTo>
                  <a:lnTo>
                    <a:pt x="168275" y="136017"/>
                  </a:lnTo>
                  <a:lnTo>
                    <a:pt x="220573" y="165493"/>
                  </a:lnTo>
                  <a:lnTo>
                    <a:pt x="234823" y="151231"/>
                  </a:lnTo>
                  <a:lnTo>
                    <a:pt x="324192" y="61836"/>
                  </a:lnTo>
                  <a:lnTo>
                    <a:pt x="324192" y="92265"/>
                  </a:lnTo>
                  <a:lnTo>
                    <a:pt x="331800" y="99872"/>
                  </a:lnTo>
                  <a:lnTo>
                    <a:pt x="350812" y="99872"/>
                  </a:lnTo>
                  <a:lnTo>
                    <a:pt x="355587" y="95084"/>
                  </a:lnTo>
                  <a:lnTo>
                    <a:pt x="355587" y="88455"/>
                  </a:lnTo>
                  <a:lnTo>
                    <a:pt x="355587" y="7607"/>
                  </a:lnTo>
                  <a:lnTo>
                    <a:pt x="355587" y="0"/>
                  </a:lnTo>
                  <a:close/>
                </a:path>
                <a:path w="1388745" h="1555114">
                  <a:moveTo>
                    <a:pt x="994041" y="1502651"/>
                  </a:moveTo>
                  <a:lnTo>
                    <a:pt x="991489" y="1500098"/>
                  </a:lnTo>
                  <a:lnTo>
                    <a:pt x="990219" y="1498828"/>
                  </a:lnTo>
                  <a:lnTo>
                    <a:pt x="987679" y="1497558"/>
                  </a:lnTo>
                  <a:lnTo>
                    <a:pt x="982586" y="1497558"/>
                  </a:lnTo>
                  <a:lnTo>
                    <a:pt x="980046" y="1498828"/>
                  </a:lnTo>
                  <a:lnTo>
                    <a:pt x="976223" y="1502651"/>
                  </a:lnTo>
                  <a:lnTo>
                    <a:pt x="976223" y="1511554"/>
                  </a:lnTo>
                  <a:lnTo>
                    <a:pt x="980046" y="1515376"/>
                  </a:lnTo>
                  <a:lnTo>
                    <a:pt x="982586" y="1516646"/>
                  </a:lnTo>
                  <a:lnTo>
                    <a:pt x="987679" y="1516646"/>
                  </a:lnTo>
                  <a:lnTo>
                    <a:pt x="990219" y="1515376"/>
                  </a:lnTo>
                  <a:lnTo>
                    <a:pt x="994041" y="1511554"/>
                  </a:lnTo>
                  <a:lnTo>
                    <a:pt x="994041" y="1502651"/>
                  </a:lnTo>
                  <a:close/>
                </a:path>
                <a:path w="1388745" h="1555114">
                  <a:moveTo>
                    <a:pt x="1355356" y="1249349"/>
                  </a:moveTo>
                  <a:lnTo>
                    <a:pt x="1354086" y="1246809"/>
                  </a:lnTo>
                  <a:lnTo>
                    <a:pt x="1352816" y="1245539"/>
                  </a:lnTo>
                  <a:lnTo>
                    <a:pt x="1351546" y="1242987"/>
                  </a:lnTo>
                  <a:lnTo>
                    <a:pt x="1349006" y="1241717"/>
                  </a:lnTo>
                  <a:lnTo>
                    <a:pt x="1343901" y="1241717"/>
                  </a:lnTo>
                  <a:lnTo>
                    <a:pt x="1341361" y="1242987"/>
                  </a:lnTo>
                  <a:lnTo>
                    <a:pt x="1340091" y="1245539"/>
                  </a:lnTo>
                  <a:lnTo>
                    <a:pt x="1337551" y="1246809"/>
                  </a:lnTo>
                  <a:lnTo>
                    <a:pt x="1337551" y="1256995"/>
                  </a:lnTo>
                  <a:lnTo>
                    <a:pt x="1340091" y="1258265"/>
                  </a:lnTo>
                  <a:lnTo>
                    <a:pt x="1341361" y="1259535"/>
                  </a:lnTo>
                  <a:lnTo>
                    <a:pt x="1343901" y="1260805"/>
                  </a:lnTo>
                  <a:lnTo>
                    <a:pt x="1349006" y="1260805"/>
                  </a:lnTo>
                  <a:lnTo>
                    <a:pt x="1351546" y="1259535"/>
                  </a:lnTo>
                  <a:lnTo>
                    <a:pt x="1354086" y="1256995"/>
                  </a:lnTo>
                  <a:lnTo>
                    <a:pt x="1355356" y="1254429"/>
                  </a:lnTo>
                  <a:lnTo>
                    <a:pt x="1355356" y="1249349"/>
                  </a:lnTo>
                  <a:close/>
                </a:path>
                <a:path w="1388745" h="1555114">
                  <a:moveTo>
                    <a:pt x="1388465" y="1078788"/>
                  </a:moveTo>
                  <a:lnTo>
                    <a:pt x="1374432" y="1078788"/>
                  </a:lnTo>
                  <a:lnTo>
                    <a:pt x="1374432" y="1091514"/>
                  </a:lnTo>
                  <a:lnTo>
                    <a:pt x="1374432" y="1535734"/>
                  </a:lnTo>
                  <a:lnTo>
                    <a:pt x="1307007" y="1535734"/>
                  </a:lnTo>
                  <a:lnTo>
                    <a:pt x="1308277" y="1531924"/>
                  </a:lnTo>
                  <a:lnTo>
                    <a:pt x="1309547" y="1526832"/>
                  </a:lnTo>
                  <a:lnTo>
                    <a:pt x="1309547" y="1517916"/>
                  </a:lnTo>
                  <a:lnTo>
                    <a:pt x="1308277" y="1512824"/>
                  </a:lnTo>
                  <a:lnTo>
                    <a:pt x="1307007" y="1509014"/>
                  </a:lnTo>
                  <a:lnTo>
                    <a:pt x="1309547" y="1509014"/>
                  </a:lnTo>
                  <a:lnTo>
                    <a:pt x="1322031" y="1506537"/>
                  </a:lnTo>
                  <a:lnTo>
                    <a:pt x="1332128" y="1499781"/>
                  </a:lnTo>
                  <a:lnTo>
                    <a:pt x="1338897" y="1489671"/>
                  </a:lnTo>
                  <a:lnTo>
                    <a:pt x="1341361" y="1477187"/>
                  </a:lnTo>
                  <a:lnTo>
                    <a:pt x="1341361" y="1472095"/>
                  </a:lnTo>
                  <a:lnTo>
                    <a:pt x="1340091" y="1467002"/>
                  </a:lnTo>
                  <a:lnTo>
                    <a:pt x="1338821" y="1463192"/>
                  </a:lnTo>
                  <a:lnTo>
                    <a:pt x="1347762" y="1458772"/>
                  </a:lnTo>
                  <a:lnTo>
                    <a:pt x="1355039" y="1451737"/>
                  </a:lnTo>
                  <a:lnTo>
                    <a:pt x="1359916" y="1442783"/>
                  </a:lnTo>
                  <a:lnTo>
                    <a:pt x="1361706" y="1432636"/>
                  </a:lnTo>
                  <a:lnTo>
                    <a:pt x="1361706" y="1425003"/>
                  </a:lnTo>
                  <a:lnTo>
                    <a:pt x="1359166" y="1418640"/>
                  </a:lnTo>
                  <a:lnTo>
                    <a:pt x="1355356" y="1413548"/>
                  </a:lnTo>
                  <a:lnTo>
                    <a:pt x="1355356" y="1400822"/>
                  </a:lnTo>
                  <a:lnTo>
                    <a:pt x="1355356" y="1288821"/>
                  </a:lnTo>
                  <a:lnTo>
                    <a:pt x="1351546" y="1284986"/>
                  </a:lnTo>
                  <a:lnTo>
                    <a:pt x="1342631" y="1284986"/>
                  </a:lnTo>
                  <a:lnTo>
                    <a:pt x="1342631" y="1425003"/>
                  </a:lnTo>
                  <a:lnTo>
                    <a:pt x="1342631" y="1438998"/>
                  </a:lnTo>
                  <a:lnTo>
                    <a:pt x="1337551" y="1445361"/>
                  </a:lnTo>
                  <a:lnTo>
                    <a:pt x="1201407" y="1445361"/>
                  </a:lnTo>
                  <a:lnTo>
                    <a:pt x="1196327" y="1449184"/>
                  </a:lnTo>
                  <a:lnTo>
                    <a:pt x="1196327" y="1459369"/>
                  </a:lnTo>
                  <a:lnTo>
                    <a:pt x="1201407" y="1464462"/>
                  </a:lnTo>
                  <a:lnTo>
                    <a:pt x="1317193" y="1464462"/>
                  </a:lnTo>
                  <a:lnTo>
                    <a:pt x="1323543" y="1469555"/>
                  </a:lnTo>
                  <a:lnTo>
                    <a:pt x="1323543" y="1484820"/>
                  </a:lnTo>
                  <a:lnTo>
                    <a:pt x="1317193" y="1489913"/>
                  </a:lnTo>
                  <a:lnTo>
                    <a:pt x="1201407" y="1489913"/>
                  </a:lnTo>
                  <a:lnTo>
                    <a:pt x="1196327" y="1495005"/>
                  </a:lnTo>
                  <a:lnTo>
                    <a:pt x="1196327" y="1505191"/>
                  </a:lnTo>
                  <a:lnTo>
                    <a:pt x="1201407" y="1509014"/>
                  </a:lnTo>
                  <a:lnTo>
                    <a:pt x="1285367" y="1509014"/>
                  </a:lnTo>
                  <a:lnTo>
                    <a:pt x="1290472" y="1515376"/>
                  </a:lnTo>
                  <a:lnTo>
                    <a:pt x="1290472" y="1529372"/>
                  </a:lnTo>
                  <a:lnTo>
                    <a:pt x="1285367" y="1535734"/>
                  </a:lnTo>
                  <a:lnTo>
                    <a:pt x="1093266" y="1535734"/>
                  </a:lnTo>
                  <a:lnTo>
                    <a:pt x="1086916" y="1533194"/>
                  </a:lnTo>
                  <a:lnTo>
                    <a:pt x="1080554" y="1528102"/>
                  </a:lnTo>
                  <a:lnTo>
                    <a:pt x="1058926" y="1509014"/>
                  </a:lnTo>
                  <a:lnTo>
                    <a:pt x="1058926" y="1379181"/>
                  </a:lnTo>
                  <a:lnTo>
                    <a:pt x="1073734" y="1363903"/>
                  </a:lnTo>
                  <a:lnTo>
                    <a:pt x="1079893" y="1357541"/>
                  </a:lnTo>
                  <a:lnTo>
                    <a:pt x="1099642" y="1337183"/>
                  </a:lnTo>
                  <a:lnTo>
                    <a:pt x="1107262" y="1366443"/>
                  </a:lnTo>
                  <a:lnTo>
                    <a:pt x="1108532" y="1370279"/>
                  </a:lnTo>
                  <a:lnTo>
                    <a:pt x="1112367" y="1374089"/>
                  </a:lnTo>
                  <a:lnTo>
                    <a:pt x="1308277" y="1374089"/>
                  </a:lnTo>
                  <a:lnTo>
                    <a:pt x="1313370" y="1379181"/>
                  </a:lnTo>
                  <a:lnTo>
                    <a:pt x="1313370" y="1394460"/>
                  </a:lnTo>
                  <a:lnTo>
                    <a:pt x="1308277" y="1399552"/>
                  </a:lnTo>
                  <a:lnTo>
                    <a:pt x="1201407" y="1399552"/>
                  </a:lnTo>
                  <a:lnTo>
                    <a:pt x="1196327" y="1404632"/>
                  </a:lnTo>
                  <a:lnTo>
                    <a:pt x="1196327" y="1414818"/>
                  </a:lnTo>
                  <a:lnTo>
                    <a:pt x="1201407" y="1418640"/>
                  </a:lnTo>
                  <a:lnTo>
                    <a:pt x="1337551" y="1418640"/>
                  </a:lnTo>
                  <a:lnTo>
                    <a:pt x="1342631" y="1425003"/>
                  </a:lnTo>
                  <a:lnTo>
                    <a:pt x="1342631" y="1284986"/>
                  </a:lnTo>
                  <a:lnTo>
                    <a:pt x="1341361" y="1284986"/>
                  </a:lnTo>
                  <a:lnTo>
                    <a:pt x="1336281" y="1288821"/>
                  </a:lnTo>
                  <a:lnTo>
                    <a:pt x="1336281" y="1400822"/>
                  </a:lnTo>
                  <a:lnTo>
                    <a:pt x="1334998" y="1400822"/>
                  </a:lnTo>
                  <a:lnTo>
                    <a:pt x="1332445" y="1399552"/>
                  </a:lnTo>
                  <a:lnTo>
                    <a:pt x="1329905" y="1399552"/>
                  </a:lnTo>
                  <a:lnTo>
                    <a:pt x="1332445" y="1391907"/>
                  </a:lnTo>
                  <a:lnTo>
                    <a:pt x="1332445" y="1386814"/>
                  </a:lnTo>
                  <a:lnTo>
                    <a:pt x="1329982" y="1374330"/>
                  </a:lnTo>
                  <a:lnTo>
                    <a:pt x="1323225" y="1364234"/>
                  </a:lnTo>
                  <a:lnTo>
                    <a:pt x="1313129" y="1357464"/>
                  </a:lnTo>
                  <a:lnTo>
                    <a:pt x="1300645" y="1355001"/>
                  </a:lnTo>
                  <a:lnTo>
                    <a:pt x="1285367" y="1355001"/>
                  </a:lnTo>
                  <a:lnTo>
                    <a:pt x="1296733" y="1348447"/>
                  </a:lnTo>
                  <a:lnTo>
                    <a:pt x="1304836" y="1339723"/>
                  </a:lnTo>
                  <a:lnTo>
                    <a:pt x="1305572" y="1338922"/>
                  </a:lnTo>
                  <a:lnTo>
                    <a:pt x="1311325" y="1327251"/>
                  </a:lnTo>
                  <a:lnTo>
                    <a:pt x="1313370" y="1314259"/>
                  </a:lnTo>
                  <a:lnTo>
                    <a:pt x="1309789" y="1296365"/>
                  </a:lnTo>
                  <a:lnTo>
                    <a:pt x="1303845" y="1287526"/>
                  </a:lnTo>
                  <a:lnTo>
                    <a:pt x="1300010" y="1281811"/>
                  </a:lnTo>
                  <a:lnTo>
                    <a:pt x="1294282" y="1277962"/>
                  </a:lnTo>
                  <a:lnTo>
                    <a:pt x="1294282" y="1314259"/>
                  </a:lnTo>
                  <a:lnTo>
                    <a:pt x="1292263" y="1324152"/>
                  </a:lnTo>
                  <a:lnTo>
                    <a:pt x="1286649" y="1332242"/>
                  </a:lnTo>
                  <a:lnTo>
                    <a:pt x="1278178" y="1337716"/>
                  </a:lnTo>
                  <a:lnTo>
                    <a:pt x="1267561" y="1339723"/>
                  </a:lnTo>
                  <a:lnTo>
                    <a:pt x="1257681" y="1337716"/>
                  </a:lnTo>
                  <a:lnTo>
                    <a:pt x="1249591" y="1332242"/>
                  </a:lnTo>
                  <a:lnTo>
                    <a:pt x="1244130" y="1324152"/>
                  </a:lnTo>
                  <a:lnTo>
                    <a:pt x="1242123" y="1314259"/>
                  </a:lnTo>
                  <a:lnTo>
                    <a:pt x="1244130" y="1303642"/>
                  </a:lnTo>
                  <a:lnTo>
                    <a:pt x="1249591" y="1295171"/>
                  </a:lnTo>
                  <a:lnTo>
                    <a:pt x="1257681" y="1289558"/>
                  </a:lnTo>
                  <a:lnTo>
                    <a:pt x="1267561" y="1287526"/>
                  </a:lnTo>
                  <a:lnTo>
                    <a:pt x="1278178" y="1289558"/>
                  </a:lnTo>
                  <a:lnTo>
                    <a:pt x="1286649" y="1295171"/>
                  </a:lnTo>
                  <a:lnTo>
                    <a:pt x="1292263" y="1303642"/>
                  </a:lnTo>
                  <a:lnTo>
                    <a:pt x="1294282" y="1314259"/>
                  </a:lnTo>
                  <a:lnTo>
                    <a:pt x="1294282" y="1277962"/>
                  </a:lnTo>
                  <a:lnTo>
                    <a:pt x="1285455" y="1272019"/>
                  </a:lnTo>
                  <a:lnTo>
                    <a:pt x="1267561" y="1268437"/>
                  </a:lnTo>
                  <a:lnTo>
                    <a:pt x="1250416" y="1272019"/>
                  </a:lnTo>
                  <a:lnTo>
                    <a:pt x="1236243" y="1281811"/>
                  </a:lnTo>
                  <a:lnTo>
                    <a:pt x="1226604" y="1296365"/>
                  </a:lnTo>
                  <a:lnTo>
                    <a:pt x="1223048" y="1314259"/>
                  </a:lnTo>
                  <a:lnTo>
                    <a:pt x="1225080" y="1327251"/>
                  </a:lnTo>
                  <a:lnTo>
                    <a:pt x="1230680" y="1338922"/>
                  </a:lnTo>
                  <a:lnTo>
                    <a:pt x="1239139" y="1348447"/>
                  </a:lnTo>
                  <a:lnTo>
                    <a:pt x="1249756" y="1355001"/>
                  </a:lnTo>
                  <a:lnTo>
                    <a:pt x="1198867" y="1355001"/>
                  </a:lnTo>
                  <a:lnTo>
                    <a:pt x="1198867" y="1176807"/>
                  </a:lnTo>
                  <a:lnTo>
                    <a:pt x="1210678" y="1172146"/>
                  </a:lnTo>
                  <a:lnTo>
                    <a:pt x="1220812" y="1164386"/>
                  </a:lnTo>
                  <a:lnTo>
                    <a:pt x="1228559" y="1154239"/>
                  </a:lnTo>
                  <a:lnTo>
                    <a:pt x="1233220" y="1142428"/>
                  </a:lnTo>
                  <a:lnTo>
                    <a:pt x="1303197" y="1142428"/>
                  </a:lnTo>
                  <a:lnTo>
                    <a:pt x="1307655" y="1154239"/>
                  </a:lnTo>
                  <a:lnTo>
                    <a:pt x="1314970" y="1164386"/>
                  </a:lnTo>
                  <a:lnTo>
                    <a:pt x="1324660" y="1172146"/>
                  </a:lnTo>
                  <a:lnTo>
                    <a:pt x="1336281" y="1176807"/>
                  </a:lnTo>
                  <a:lnTo>
                    <a:pt x="1336281" y="1211173"/>
                  </a:lnTo>
                  <a:lnTo>
                    <a:pt x="1341361" y="1214983"/>
                  </a:lnTo>
                  <a:lnTo>
                    <a:pt x="1351546" y="1214983"/>
                  </a:lnTo>
                  <a:lnTo>
                    <a:pt x="1355356" y="1211173"/>
                  </a:lnTo>
                  <a:lnTo>
                    <a:pt x="1355356" y="1162799"/>
                  </a:lnTo>
                  <a:lnTo>
                    <a:pt x="1351546" y="1158976"/>
                  </a:lnTo>
                  <a:lnTo>
                    <a:pt x="1346441" y="1158976"/>
                  </a:lnTo>
                  <a:lnTo>
                    <a:pt x="1336560" y="1156970"/>
                  </a:lnTo>
                  <a:lnTo>
                    <a:pt x="1328470" y="1151496"/>
                  </a:lnTo>
                  <a:lnTo>
                    <a:pt x="1323009" y="1143406"/>
                  </a:lnTo>
                  <a:lnTo>
                    <a:pt x="1322819" y="1142428"/>
                  </a:lnTo>
                  <a:lnTo>
                    <a:pt x="1321003" y="1133525"/>
                  </a:lnTo>
                  <a:lnTo>
                    <a:pt x="1321003" y="1128420"/>
                  </a:lnTo>
                  <a:lnTo>
                    <a:pt x="1317193" y="1123340"/>
                  </a:lnTo>
                  <a:lnTo>
                    <a:pt x="1219212" y="1123340"/>
                  </a:lnTo>
                  <a:lnTo>
                    <a:pt x="1215402" y="1128420"/>
                  </a:lnTo>
                  <a:lnTo>
                    <a:pt x="1215402" y="1133525"/>
                  </a:lnTo>
                  <a:lnTo>
                    <a:pt x="1213396" y="1143406"/>
                  </a:lnTo>
                  <a:lnTo>
                    <a:pt x="1207935" y="1151496"/>
                  </a:lnTo>
                  <a:lnTo>
                    <a:pt x="1199832" y="1156970"/>
                  </a:lnTo>
                  <a:lnTo>
                    <a:pt x="1189951" y="1158976"/>
                  </a:lnTo>
                  <a:lnTo>
                    <a:pt x="1184871" y="1158976"/>
                  </a:lnTo>
                  <a:lnTo>
                    <a:pt x="1179791" y="1162799"/>
                  </a:lnTo>
                  <a:lnTo>
                    <a:pt x="1179791" y="1355001"/>
                  </a:lnTo>
                  <a:lnTo>
                    <a:pt x="1161973" y="1355001"/>
                  </a:lnTo>
                  <a:lnTo>
                    <a:pt x="1161973" y="1286256"/>
                  </a:lnTo>
                  <a:lnTo>
                    <a:pt x="1161973" y="1207338"/>
                  </a:lnTo>
                  <a:lnTo>
                    <a:pt x="1161973" y="1128420"/>
                  </a:lnTo>
                  <a:lnTo>
                    <a:pt x="1161973" y="1091514"/>
                  </a:lnTo>
                  <a:lnTo>
                    <a:pt x="1374432" y="1091514"/>
                  </a:lnTo>
                  <a:lnTo>
                    <a:pt x="1374432" y="1078788"/>
                  </a:lnTo>
                  <a:lnTo>
                    <a:pt x="1142898" y="1078788"/>
                  </a:lnTo>
                  <a:lnTo>
                    <a:pt x="1142898" y="1109332"/>
                  </a:lnTo>
                  <a:lnTo>
                    <a:pt x="1142898" y="1128420"/>
                  </a:lnTo>
                  <a:lnTo>
                    <a:pt x="1142898" y="1164082"/>
                  </a:lnTo>
                  <a:lnTo>
                    <a:pt x="1142898" y="1207338"/>
                  </a:lnTo>
                  <a:lnTo>
                    <a:pt x="1142898" y="1286256"/>
                  </a:lnTo>
                  <a:lnTo>
                    <a:pt x="1126337" y="1222616"/>
                  </a:lnTo>
                  <a:lnTo>
                    <a:pt x="1132713" y="1218806"/>
                  </a:lnTo>
                  <a:lnTo>
                    <a:pt x="1139063" y="1213713"/>
                  </a:lnTo>
                  <a:lnTo>
                    <a:pt x="1142898" y="1207338"/>
                  </a:lnTo>
                  <a:lnTo>
                    <a:pt x="1142898" y="1164082"/>
                  </a:lnTo>
                  <a:lnTo>
                    <a:pt x="1130173" y="1176807"/>
                  </a:lnTo>
                  <a:lnTo>
                    <a:pt x="1130782" y="1187119"/>
                  </a:lnTo>
                  <a:lnTo>
                    <a:pt x="1127467" y="1196365"/>
                  </a:lnTo>
                  <a:lnTo>
                    <a:pt x="1121041" y="1203464"/>
                  </a:lnTo>
                  <a:lnTo>
                    <a:pt x="1112367" y="1207338"/>
                  </a:lnTo>
                  <a:lnTo>
                    <a:pt x="1107262" y="1209903"/>
                  </a:lnTo>
                  <a:lnTo>
                    <a:pt x="1104722" y="1214983"/>
                  </a:lnTo>
                  <a:lnTo>
                    <a:pt x="1104722" y="1217523"/>
                  </a:lnTo>
                  <a:lnTo>
                    <a:pt x="1105992" y="1218806"/>
                  </a:lnTo>
                  <a:lnTo>
                    <a:pt x="1141615" y="1355001"/>
                  </a:lnTo>
                  <a:lnTo>
                    <a:pt x="1123797" y="1355001"/>
                  </a:lnTo>
                  <a:lnTo>
                    <a:pt x="1119060" y="1337183"/>
                  </a:lnTo>
                  <a:lnTo>
                    <a:pt x="1113637" y="1316799"/>
                  </a:lnTo>
                  <a:lnTo>
                    <a:pt x="1113637" y="1315529"/>
                  </a:lnTo>
                  <a:lnTo>
                    <a:pt x="1112367" y="1314259"/>
                  </a:lnTo>
                  <a:lnTo>
                    <a:pt x="1067828" y="1148803"/>
                  </a:lnTo>
                  <a:lnTo>
                    <a:pt x="1142898" y="1128420"/>
                  </a:lnTo>
                  <a:lnTo>
                    <a:pt x="1142898" y="1109332"/>
                  </a:lnTo>
                  <a:lnTo>
                    <a:pt x="1053833" y="1133525"/>
                  </a:lnTo>
                  <a:lnTo>
                    <a:pt x="1048740" y="1134795"/>
                  </a:lnTo>
                  <a:lnTo>
                    <a:pt x="1046200" y="1139888"/>
                  </a:lnTo>
                  <a:lnTo>
                    <a:pt x="1047470" y="1144993"/>
                  </a:lnTo>
                  <a:lnTo>
                    <a:pt x="1093266" y="1316799"/>
                  </a:lnTo>
                  <a:lnTo>
                    <a:pt x="1053833" y="1357541"/>
                  </a:lnTo>
                  <a:lnTo>
                    <a:pt x="1049362" y="1352334"/>
                  </a:lnTo>
                  <a:lnTo>
                    <a:pt x="1043813" y="1348308"/>
                  </a:lnTo>
                  <a:lnTo>
                    <a:pt x="1039837" y="1346682"/>
                  </a:lnTo>
                  <a:lnTo>
                    <a:pt x="1039837" y="1367726"/>
                  </a:lnTo>
                  <a:lnTo>
                    <a:pt x="1039837" y="1530642"/>
                  </a:lnTo>
                  <a:lnTo>
                    <a:pt x="1036027" y="1535734"/>
                  </a:lnTo>
                  <a:lnTo>
                    <a:pt x="935520" y="1535734"/>
                  </a:lnTo>
                  <a:lnTo>
                    <a:pt x="930427" y="1530642"/>
                  </a:lnTo>
                  <a:lnTo>
                    <a:pt x="930427" y="1367726"/>
                  </a:lnTo>
                  <a:lnTo>
                    <a:pt x="935520" y="1363903"/>
                  </a:lnTo>
                  <a:lnTo>
                    <a:pt x="976223" y="1363903"/>
                  </a:lnTo>
                  <a:lnTo>
                    <a:pt x="976223" y="1477187"/>
                  </a:lnTo>
                  <a:lnTo>
                    <a:pt x="980046" y="1481010"/>
                  </a:lnTo>
                  <a:lnTo>
                    <a:pt x="990219" y="1481010"/>
                  </a:lnTo>
                  <a:lnTo>
                    <a:pt x="994041" y="1477187"/>
                  </a:lnTo>
                  <a:lnTo>
                    <a:pt x="994041" y="1363903"/>
                  </a:lnTo>
                  <a:lnTo>
                    <a:pt x="1036027" y="1363903"/>
                  </a:lnTo>
                  <a:lnTo>
                    <a:pt x="1039837" y="1367726"/>
                  </a:lnTo>
                  <a:lnTo>
                    <a:pt x="1039837" y="1346682"/>
                  </a:lnTo>
                  <a:lnTo>
                    <a:pt x="1037551" y="1345730"/>
                  </a:lnTo>
                  <a:lnTo>
                    <a:pt x="1030935" y="1344815"/>
                  </a:lnTo>
                  <a:lnTo>
                    <a:pt x="940600" y="1344815"/>
                  </a:lnTo>
                  <a:lnTo>
                    <a:pt x="929259" y="1347038"/>
                  </a:lnTo>
                  <a:lnTo>
                    <a:pt x="920407" y="1353083"/>
                  </a:lnTo>
                  <a:lnTo>
                    <a:pt x="914666" y="1361998"/>
                  </a:lnTo>
                  <a:lnTo>
                    <a:pt x="912622" y="1372819"/>
                  </a:lnTo>
                  <a:lnTo>
                    <a:pt x="912622" y="1525562"/>
                  </a:lnTo>
                  <a:lnTo>
                    <a:pt x="914666" y="1536915"/>
                  </a:lnTo>
                  <a:lnTo>
                    <a:pt x="920407" y="1545767"/>
                  </a:lnTo>
                  <a:lnTo>
                    <a:pt x="929259" y="1551508"/>
                  </a:lnTo>
                  <a:lnTo>
                    <a:pt x="940600" y="1553552"/>
                  </a:lnTo>
                  <a:lnTo>
                    <a:pt x="1030935" y="1553552"/>
                  </a:lnTo>
                  <a:lnTo>
                    <a:pt x="1040117" y="1551990"/>
                  </a:lnTo>
                  <a:lnTo>
                    <a:pt x="1048105" y="1547672"/>
                  </a:lnTo>
                  <a:lnTo>
                    <a:pt x="1054188" y="1541208"/>
                  </a:lnTo>
                  <a:lnTo>
                    <a:pt x="1056551" y="1535734"/>
                  </a:lnTo>
                  <a:lnTo>
                    <a:pt x="1057656" y="1533194"/>
                  </a:lnTo>
                  <a:lnTo>
                    <a:pt x="1091285" y="1553921"/>
                  </a:lnTo>
                  <a:lnTo>
                    <a:pt x="1097876" y="1554632"/>
                  </a:lnTo>
                  <a:lnTo>
                    <a:pt x="1388465" y="1554632"/>
                  </a:lnTo>
                  <a:lnTo>
                    <a:pt x="1388465" y="1535734"/>
                  </a:lnTo>
                  <a:lnTo>
                    <a:pt x="1388465" y="1091514"/>
                  </a:lnTo>
                  <a:lnTo>
                    <a:pt x="1388465" y="1078788"/>
                  </a:lnTo>
                  <a:close/>
                </a:path>
              </a:pathLst>
            </a:custGeom>
            <a:solidFill>
              <a:srgbClr val="0082C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5" name="object 107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4178299" y="4546989"/>
              <a:ext cx="150219" cy="150277"/>
            </a:xfrm>
            <a:prstGeom prst="rect">
              <a:avLst/>
            </a:prstGeom>
          </p:spPr>
        </p:pic>
        <p:pic>
          <p:nvPicPr>
            <p:cNvPr id="36" name="object 108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3864228" y="3999988"/>
              <a:ext cx="355598" cy="355942"/>
            </a:xfrm>
            <a:prstGeom prst="rect">
              <a:avLst/>
            </a:prstGeom>
          </p:spPr>
        </p:pic>
        <p:sp>
          <p:nvSpPr>
            <p:cNvPr id="37" name="object 109"/>
            <p:cNvSpPr/>
            <p:nvPr/>
          </p:nvSpPr>
          <p:spPr>
            <a:xfrm>
              <a:off x="4239895" y="2300604"/>
              <a:ext cx="887730" cy="946785"/>
            </a:xfrm>
            <a:custGeom>
              <a:avLst/>
              <a:gdLst/>
              <a:ahLst/>
              <a:cxnLst/>
              <a:rect l="l" t="t" r="r" b="b"/>
              <a:pathLst>
                <a:path w="887729" h="946785">
                  <a:moveTo>
                    <a:pt x="179679" y="527075"/>
                  </a:moveTo>
                  <a:lnTo>
                    <a:pt x="164477" y="527075"/>
                  </a:lnTo>
                  <a:lnTo>
                    <a:pt x="164477" y="535813"/>
                  </a:lnTo>
                  <a:lnTo>
                    <a:pt x="145453" y="648627"/>
                  </a:lnTo>
                  <a:lnTo>
                    <a:pt x="143548" y="648627"/>
                  </a:lnTo>
                  <a:lnTo>
                    <a:pt x="143548" y="663219"/>
                  </a:lnTo>
                  <a:lnTo>
                    <a:pt x="138798" y="691413"/>
                  </a:lnTo>
                  <a:lnTo>
                    <a:pt x="123583" y="691413"/>
                  </a:lnTo>
                  <a:lnTo>
                    <a:pt x="123583" y="663219"/>
                  </a:lnTo>
                  <a:lnTo>
                    <a:pt x="143548" y="663219"/>
                  </a:lnTo>
                  <a:lnTo>
                    <a:pt x="143548" y="648627"/>
                  </a:lnTo>
                  <a:lnTo>
                    <a:pt x="110274" y="648627"/>
                  </a:lnTo>
                  <a:lnTo>
                    <a:pt x="110274" y="663219"/>
                  </a:lnTo>
                  <a:lnTo>
                    <a:pt x="110274" y="691413"/>
                  </a:lnTo>
                  <a:lnTo>
                    <a:pt x="96012" y="691413"/>
                  </a:lnTo>
                  <a:lnTo>
                    <a:pt x="96012" y="705027"/>
                  </a:lnTo>
                  <a:lnTo>
                    <a:pt x="96012" y="928712"/>
                  </a:lnTo>
                  <a:lnTo>
                    <a:pt x="93167" y="931621"/>
                  </a:lnTo>
                  <a:lnTo>
                    <a:pt x="85559" y="931621"/>
                  </a:lnTo>
                  <a:lnTo>
                    <a:pt x="82702" y="928712"/>
                  </a:lnTo>
                  <a:lnTo>
                    <a:pt x="82702" y="705027"/>
                  </a:lnTo>
                  <a:lnTo>
                    <a:pt x="96012" y="705027"/>
                  </a:lnTo>
                  <a:lnTo>
                    <a:pt x="96012" y="691413"/>
                  </a:lnTo>
                  <a:lnTo>
                    <a:pt x="96012" y="663219"/>
                  </a:lnTo>
                  <a:lnTo>
                    <a:pt x="110274" y="663219"/>
                  </a:lnTo>
                  <a:lnTo>
                    <a:pt x="110274" y="648627"/>
                  </a:lnTo>
                  <a:lnTo>
                    <a:pt x="82702" y="648627"/>
                  </a:lnTo>
                  <a:lnTo>
                    <a:pt x="82702" y="663219"/>
                  </a:lnTo>
                  <a:lnTo>
                    <a:pt x="82702" y="691413"/>
                  </a:lnTo>
                  <a:lnTo>
                    <a:pt x="68440" y="691413"/>
                  </a:lnTo>
                  <a:lnTo>
                    <a:pt x="68440" y="663219"/>
                  </a:lnTo>
                  <a:lnTo>
                    <a:pt x="82702" y="663219"/>
                  </a:lnTo>
                  <a:lnTo>
                    <a:pt x="82702" y="648627"/>
                  </a:lnTo>
                  <a:lnTo>
                    <a:pt x="55130" y="648627"/>
                  </a:lnTo>
                  <a:lnTo>
                    <a:pt x="55130" y="663219"/>
                  </a:lnTo>
                  <a:lnTo>
                    <a:pt x="55130" y="691413"/>
                  </a:lnTo>
                  <a:lnTo>
                    <a:pt x="39928" y="691413"/>
                  </a:lnTo>
                  <a:lnTo>
                    <a:pt x="35166" y="663219"/>
                  </a:lnTo>
                  <a:lnTo>
                    <a:pt x="55130" y="663219"/>
                  </a:lnTo>
                  <a:lnTo>
                    <a:pt x="55130" y="648627"/>
                  </a:lnTo>
                  <a:lnTo>
                    <a:pt x="33274" y="648627"/>
                  </a:lnTo>
                  <a:lnTo>
                    <a:pt x="14249" y="535813"/>
                  </a:lnTo>
                  <a:lnTo>
                    <a:pt x="40868" y="535813"/>
                  </a:lnTo>
                  <a:lnTo>
                    <a:pt x="40868" y="585419"/>
                  </a:lnTo>
                  <a:lnTo>
                    <a:pt x="55130" y="585419"/>
                  </a:lnTo>
                  <a:lnTo>
                    <a:pt x="55130" y="535813"/>
                  </a:lnTo>
                  <a:lnTo>
                    <a:pt x="82702" y="535813"/>
                  </a:lnTo>
                  <a:lnTo>
                    <a:pt x="82702" y="585419"/>
                  </a:lnTo>
                  <a:lnTo>
                    <a:pt x="96012" y="585419"/>
                  </a:lnTo>
                  <a:lnTo>
                    <a:pt x="96012" y="535813"/>
                  </a:lnTo>
                  <a:lnTo>
                    <a:pt x="123583" y="535813"/>
                  </a:lnTo>
                  <a:lnTo>
                    <a:pt x="123583" y="585419"/>
                  </a:lnTo>
                  <a:lnTo>
                    <a:pt x="137858" y="585419"/>
                  </a:lnTo>
                  <a:lnTo>
                    <a:pt x="137858" y="535813"/>
                  </a:lnTo>
                  <a:lnTo>
                    <a:pt x="164477" y="535813"/>
                  </a:lnTo>
                  <a:lnTo>
                    <a:pt x="164477" y="527075"/>
                  </a:lnTo>
                  <a:lnTo>
                    <a:pt x="0" y="527075"/>
                  </a:lnTo>
                  <a:lnTo>
                    <a:pt x="0" y="529983"/>
                  </a:lnTo>
                  <a:lnTo>
                    <a:pt x="27559" y="699198"/>
                  </a:lnTo>
                  <a:lnTo>
                    <a:pt x="27559" y="703084"/>
                  </a:lnTo>
                  <a:lnTo>
                    <a:pt x="30416" y="705027"/>
                  </a:lnTo>
                  <a:lnTo>
                    <a:pt x="68440" y="705027"/>
                  </a:lnTo>
                  <a:lnTo>
                    <a:pt x="68440" y="924814"/>
                  </a:lnTo>
                  <a:lnTo>
                    <a:pt x="70104" y="933081"/>
                  </a:lnTo>
                  <a:lnTo>
                    <a:pt x="74625" y="939888"/>
                  </a:lnTo>
                  <a:lnTo>
                    <a:pt x="81280" y="944511"/>
                  </a:lnTo>
                  <a:lnTo>
                    <a:pt x="89090" y="946162"/>
                  </a:lnTo>
                  <a:lnTo>
                    <a:pt x="89636" y="946162"/>
                  </a:lnTo>
                  <a:lnTo>
                    <a:pt x="97447" y="944511"/>
                  </a:lnTo>
                  <a:lnTo>
                    <a:pt x="104101" y="939888"/>
                  </a:lnTo>
                  <a:lnTo>
                    <a:pt x="108610" y="933081"/>
                  </a:lnTo>
                  <a:lnTo>
                    <a:pt x="108902" y="931621"/>
                  </a:lnTo>
                  <a:lnTo>
                    <a:pt x="110274" y="924814"/>
                  </a:lnTo>
                  <a:lnTo>
                    <a:pt x="110274" y="705027"/>
                  </a:lnTo>
                  <a:lnTo>
                    <a:pt x="148310" y="705027"/>
                  </a:lnTo>
                  <a:lnTo>
                    <a:pt x="151168" y="703084"/>
                  </a:lnTo>
                  <a:lnTo>
                    <a:pt x="151168" y="699198"/>
                  </a:lnTo>
                  <a:lnTo>
                    <a:pt x="152425" y="691413"/>
                  </a:lnTo>
                  <a:lnTo>
                    <a:pt x="157022" y="663219"/>
                  </a:lnTo>
                  <a:lnTo>
                    <a:pt x="159397" y="648627"/>
                  </a:lnTo>
                  <a:lnTo>
                    <a:pt x="177774" y="535813"/>
                  </a:lnTo>
                  <a:lnTo>
                    <a:pt x="178727" y="529983"/>
                  </a:lnTo>
                  <a:lnTo>
                    <a:pt x="179679" y="527075"/>
                  </a:lnTo>
                  <a:close/>
                </a:path>
                <a:path w="887729" h="946785">
                  <a:moveTo>
                    <a:pt x="355587" y="804227"/>
                  </a:moveTo>
                  <a:lnTo>
                    <a:pt x="355561" y="790613"/>
                  </a:lnTo>
                  <a:lnTo>
                    <a:pt x="345109" y="790613"/>
                  </a:lnTo>
                  <a:lnTo>
                    <a:pt x="345109" y="834377"/>
                  </a:lnTo>
                  <a:lnTo>
                    <a:pt x="345109" y="931621"/>
                  </a:lnTo>
                  <a:lnTo>
                    <a:pt x="307086" y="931621"/>
                  </a:lnTo>
                  <a:lnTo>
                    <a:pt x="340169" y="847013"/>
                  </a:lnTo>
                  <a:lnTo>
                    <a:pt x="345109" y="834377"/>
                  </a:lnTo>
                  <a:lnTo>
                    <a:pt x="345109" y="790613"/>
                  </a:lnTo>
                  <a:lnTo>
                    <a:pt x="341312" y="790613"/>
                  </a:lnTo>
                  <a:lnTo>
                    <a:pt x="341312" y="804227"/>
                  </a:lnTo>
                  <a:lnTo>
                    <a:pt x="330847" y="832434"/>
                  </a:lnTo>
                  <a:lnTo>
                    <a:pt x="325132" y="832434"/>
                  </a:lnTo>
                  <a:lnTo>
                    <a:pt x="325132" y="847013"/>
                  </a:lnTo>
                  <a:lnTo>
                    <a:pt x="291871" y="931621"/>
                  </a:lnTo>
                  <a:lnTo>
                    <a:pt x="140703" y="931621"/>
                  </a:lnTo>
                  <a:lnTo>
                    <a:pt x="173977" y="847013"/>
                  </a:lnTo>
                  <a:lnTo>
                    <a:pt x="325132" y="847013"/>
                  </a:lnTo>
                  <a:lnTo>
                    <a:pt x="325132" y="832434"/>
                  </a:lnTo>
                  <a:lnTo>
                    <a:pt x="179679" y="832434"/>
                  </a:lnTo>
                  <a:lnTo>
                    <a:pt x="191084" y="804227"/>
                  </a:lnTo>
                  <a:lnTo>
                    <a:pt x="341312" y="804227"/>
                  </a:lnTo>
                  <a:lnTo>
                    <a:pt x="341312" y="790613"/>
                  </a:lnTo>
                  <a:lnTo>
                    <a:pt x="296621" y="790613"/>
                  </a:lnTo>
                  <a:lnTo>
                    <a:pt x="296621" y="776020"/>
                  </a:lnTo>
                  <a:lnTo>
                    <a:pt x="296621" y="765327"/>
                  </a:lnTo>
                  <a:lnTo>
                    <a:pt x="293776" y="762419"/>
                  </a:lnTo>
                  <a:lnTo>
                    <a:pt x="289966" y="762419"/>
                  </a:lnTo>
                  <a:lnTo>
                    <a:pt x="289966" y="542620"/>
                  </a:lnTo>
                  <a:lnTo>
                    <a:pt x="288569" y="535813"/>
                  </a:lnTo>
                  <a:lnTo>
                    <a:pt x="288302" y="534504"/>
                  </a:lnTo>
                  <a:lnTo>
                    <a:pt x="283781" y="528040"/>
                  </a:lnTo>
                  <a:lnTo>
                    <a:pt x="283311" y="527748"/>
                  </a:lnTo>
                  <a:lnTo>
                    <a:pt x="283311" y="776020"/>
                  </a:lnTo>
                  <a:lnTo>
                    <a:pt x="283311" y="790613"/>
                  </a:lnTo>
                  <a:lnTo>
                    <a:pt x="254787" y="790613"/>
                  </a:lnTo>
                  <a:lnTo>
                    <a:pt x="254787" y="776020"/>
                  </a:lnTo>
                  <a:lnTo>
                    <a:pt x="283311" y="776020"/>
                  </a:lnTo>
                  <a:lnTo>
                    <a:pt x="283311" y="527748"/>
                  </a:lnTo>
                  <a:lnTo>
                    <a:pt x="282282" y="527075"/>
                  </a:lnTo>
                  <a:lnTo>
                    <a:pt x="275704" y="527075"/>
                  </a:lnTo>
                  <a:lnTo>
                    <a:pt x="275704" y="538746"/>
                  </a:lnTo>
                  <a:lnTo>
                    <a:pt x="275704" y="762419"/>
                  </a:lnTo>
                  <a:lnTo>
                    <a:pt x="262394" y="762419"/>
                  </a:lnTo>
                  <a:lnTo>
                    <a:pt x="262394" y="538746"/>
                  </a:lnTo>
                  <a:lnTo>
                    <a:pt x="265239" y="535813"/>
                  </a:lnTo>
                  <a:lnTo>
                    <a:pt x="272846" y="535813"/>
                  </a:lnTo>
                  <a:lnTo>
                    <a:pt x="275704" y="538746"/>
                  </a:lnTo>
                  <a:lnTo>
                    <a:pt x="275704" y="527075"/>
                  </a:lnTo>
                  <a:lnTo>
                    <a:pt x="255816" y="527075"/>
                  </a:lnTo>
                  <a:lnTo>
                    <a:pt x="254317" y="528040"/>
                  </a:lnTo>
                  <a:lnTo>
                    <a:pt x="249796" y="534504"/>
                  </a:lnTo>
                  <a:lnTo>
                    <a:pt x="248132" y="542620"/>
                  </a:lnTo>
                  <a:lnTo>
                    <a:pt x="248132" y="762419"/>
                  </a:lnTo>
                  <a:lnTo>
                    <a:pt x="244335" y="762419"/>
                  </a:lnTo>
                  <a:lnTo>
                    <a:pt x="241477" y="765327"/>
                  </a:lnTo>
                  <a:lnTo>
                    <a:pt x="241477" y="790613"/>
                  </a:lnTo>
                  <a:lnTo>
                    <a:pt x="183476" y="790613"/>
                  </a:lnTo>
                  <a:lnTo>
                    <a:pt x="180632" y="791591"/>
                  </a:lnTo>
                  <a:lnTo>
                    <a:pt x="179679" y="794499"/>
                  </a:lnTo>
                  <a:lnTo>
                    <a:pt x="124536" y="936485"/>
                  </a:lnTo>
                  <a:lnTo>
                    <a:pt x="122631" y="939406"/>
                  </a:lnTo>
                  <a:lnTo>
                    <a:pt x="124536" y="943292"/>
                  </a:lnTo>
                  <a:lnTo>
                    <a:pt x="128346" y="945248"/>
                  </a:lnTo>
                  <a:lnTo>
                    <a:pt x="129298" y="945248"/>
                  </a:lnTo>
                  <a:lnTo>
                    <a:pt x="130187" y="946162"/>
                  </a:lnTo>
                  <a:lnTo>
                    <a:pt x="355587" y="946162"/>
                  </a:lnTo>
                  <a:lnTo>
                    <a:pt x="355587" y="931621"/>
                  </a:lnTo>
                  <a:lnTo>
                    <a:pt x="355587" y="834377"/>
                  </a:lnTo>
                  <a:lnTo>
                    <a:pt x="355587" y="832434"/>
                  </a:lnTo>
                  <a:lnTo>
                    <a:pt x="355587" y="804227"/>
                  </a:lnTo>
                  <a:close/>
                </a:path>
                <a:path w="887729" h="946785">
                  <a:moveTo>
                    <a:pt x="887717" y="352348"/>
                  </a:moveTo>
                  <a:lnTo>
                    <a:pt x="858456" y="308051"/>
                  </a:lnTo>
                  <a:lnTo>
                    <a:pt x="812063" y="291198"/>
                  </a:lnTo>
                  <a:lnTo>
                    <a:pt x="778370" y="281914"/>
                  </a:lnTo>
                  <a:lnTo>
                    <a:pt x="778370" y="295033"/>
                  </a:lnTo>
                  <a:lnTo>
                    <a:pt x="755548" y="368782"/>
                  </a:lnTo>
                  <a:lnTo>
                    <a:pt x="741286" y="384111"/>
                  </a:lnTo>
                  <a:lnTo>
                    <a:pt x="735330" y="351548"/>
                  </a:lnTo>
                  <a:lnTo>
                    <a:pt x="734631" y="347713"/>
                  </a:lnTo>
                  <a:lnTo>
                    <a:pt x="741756" y="339090"/>
                  </a:lnTo>
                  <a:lnTo>
                    <a:pt x="748880" y="330466"/>
                  </a:lnTo>
                  <a:lnTo>
                    <a:pt x="748880" y="329514"/>
                  </a:lnTo>
                  <a:lnTo>
                    <a:pt x="749833" y="329514"/>
                  </a:lnTo>
                  <a:lnTo>
                    <a:pt x="749833" y="328561"/>
                  </a:lnTo>
                  <a:lnTo>
                    <a:pt x="755637" y="315150"/>
                  </a:lnTo>
                  <a:lnTo>
                    <a:pt x="766000" y="291198"/>
                  </a:lnTo>
                  <a:lnTo>
                    <a:pt x="778370" y="295033"/>
                  </a:lnTo>
                  <a:lnTo>
                    <a:pt x="778370" y="281914"/>
                  </a:lnTo>
                  <a:lnTo>
                    <a:pt x="766953" y="278752"/>
                  </a:lnTo>
                  <a:lnTo>
                    <a:pt x="760285" y="272034"/>
                  </a:lnTo>
                  <a:lnTo>
                    <a:pt x="755548" y="267258"/>
                  </a:lnTo>
                  <a:lnTo>
                    <a:pt x="755548" y="284492"/>
                  </a:lnTo>
                  <a:lnTo>
                    <a:pt x="742238" y="315150"/>
                  </a:lnTo>
                  <a:lnTo>
                    <a:pt x="735584" y="308457"/>
                  </a:lnTo>
                  <a:lnTo>
                    <a:pt x="735584" y="326644"/>
                  </a:lnTo>
                  <a:lnTo>
                    <a:pt x="730834" y="331825"/>
                  </a:lnTo>
                  <a:lnTo>
                    <a:pt x="730834" y="395605"/>
                  </a:lnTo>
                  <a:lnTo>
                    <a:pt x="710857" y="415721"/>
                  </a:lnTo>
                  <a:lnTo>
                    <a:pt x="691845" y="395605"/>
                  </a:lnTo>
                  <a:lnTo>
                    <a:pt x="694067" y="384111"/>
                  </a:lnTo>
                  <a:lnTo>
                    <a:pt x="700405" y="351548"/>
                  </a:lnTo>
                  <a:lnTo>
                    <a:pt x="722274" y="351548"/>
                  </a:lnTo>
                  <a:lnTo>
                    <a:pt x="730834" y="395605"/>
                  </a:lnTo>
                  <a:lnTo>
                    <a:pt x="730834" y="331825"/>
                  </a:lnTo>
                  <a:lnTo>
                    <a:pt x="724166" y="339090"/>
                  </a:lnTo>
                  <a:lnTo>
                    <a:pt x="698500" y="339090"/>
                  </a:lnTo>
                  <a:lnTo>
                    <a:pt x="688035" y="327672"/>
                  </a:lnTo>
                  <a:lnTo>
                    <a:pt x="688035" y="347713"/>
                  </a:lnTo>
                  <a:lnTo>
                    <a:pt x="681393" y="384111"/>
                  </a:lnTo>
                  <a:lnTo>
                    <a:pt x="667118" y="368782"/>
                  </a:lnTo>
                  <a:lnTo>
                    <a:pt x="644588" y="298856"/>
                  </a:lnTo>
                  <a:lnTo>
                    <a:pt x="643356" y="295033"/>
                  </a:lnTo>
                  <a:lnTo>
                    <a:pt x="656666" y="291198"/>
                  </a:lnTo>
                  <a:lnTo>
                    <a:pt x="672833" y="328561"/>
                  </a:lnTo>
                  <a:lnTo>
                    <a:pt x="672833" y="329514"/>
                  </a:lnTo>
                  <a:lnTo>
                    <a:pt x="673785" y="329514"/>
                  </a:lnTo>
                  <a:lnTo>
                    <a:pt x="673785" y="330466"/>
                  </a:lnTo>
                  <a:lnTo>
                    <a:pt x="688035" y="347713"/>
                  </a:lnTo>
                  <a:lnTo>
                    <a:pt x="688035" y="327672"/>
                  </a:lnTo>
                  <a:lnTo>
                    <a:pt x="687095" y="326644"/>
                  </a:lnTo>
                  <a:lnTo>
                    <a:pt x="698500" y="315150"/>
                  </a:lnTo>
                  <a:lnTo>
                    <a:pt x="710857" y="302691"/>
                  </a:lnTo>
                  <a:lnTo>
                    <a:pt x="735584" y="326644"/>
                  </a:lnTo>
                  <a:lnTo>
                    <a:pt x="735584" y="308457"/>
                  </a:lnTo>
                  <a:lnTo>
                    <a:pt x="729869" y="302691"/>
                  </a:lnTo>
                  <a:lnTo>
                    <a:pt x="720369" y="293116"/>
                  </a:lnTo>
                  <a:lnTo>
                    <a:pt x="729310" y="284492"/>
                  </a:lnTo>
                  <a:lnTo>
                    <a:pt x="742238" y="272034"/>
                  </a:lnTo>
                  <a:lnTo>
                    <a:pt x="755548" y="284492"/>
                  </a:lnTo>
                  <a:lnTo>
                    <a:pt x="755548" y="267258"/>
                  </a:lnTo>
                  <a:lnTo>
                    <a:pt x="747941" y="259588"/>
                  </a:lnTo>
                  <a:lnTo>
                    <a:pt x="747941" y="237553"/>
                  </a:lnTo>
                  <a:lnTo>
                    <a:pt x="747941" y="231813"/>
                  </a:lnTo>
                  <a:lnTo>
                    <a:pt x="754354" y="227977"/>
                  </a:lnTo>
                  <a:lnTo>
                    <a:pt x="764590" y="221869"/>
                  </a:lnTo>
                  <a:lnTo>
                    <a:pt x="778484" y="208343"/>
                  </a:lnTo>
                  <a:lnTo>
                    <a:pt x="788987" y="191935"/>
                  </a:lnTo>
                  <a:lnTo>
                    <a:pt x="795477" y="173380"/>
                  </a:lnTo>
                  <a:lnTo>
                    <a:pt x="804037" y="173380"/>
                  </a:lnTo>
                  <a:lnTo>
                    <a:pt x="812812" y="171526"/>
                  </a:lnTo>
                  <a:lnTo>
                    <a:pt x="820077" y="166433"/>
                  </a:lnTo>
                  <a:lnTo>
                    <a:pt x="824293" y="159956"/>
                  </a:lnTo>
                  <a:lnTo>
                    <a:pt x="825030" y="158838"/>
                  </a:lnTo>
                  <a:lnTo>
                    <a:pt x="826846" y="149428"/>
                  </a:lnTo>
                  <a:lnTo>
                    <a:pt x="826846" y="130263"/>
                  </a:lnTo>
                  <a:lnTo>
                    <a:pt x="824953" y="126441"/>
                  </a:lnTo>
                  <a:lnTo>
                    <a:pt x="824001" y="124523"/>
                  </a:lnTo>
                  <a:lnTo>
                    <a:pt x="819238" y="119735"/>
                  </a:lnTo>
                  <a:lnTo>
                    <a:pt x="819238" y="113995"/>
                  </a:lnTo>
                  <a:lnTo>
                    <a:pt x="819238" y="98653"/>
                  </a:lnTo>
                  <a:lnTo>
                    <a:pt x="819238" y="86207"/>
                  </a:lnTo>
                  <a:lnTo>
                    <a:pt x="819238" y="10528"/>
                  </a:lnTo>
                  <a:lnTo>
                    <a:pt x="848715" y="10528"/>
                  </a:lnTo>
                  <a:lnTo>
                    <a:pt x="848715" y="72796"/>
                  </a:lnTo>
                  <a:lnTo>
                    <a:pt x="842327" y="75958"/>
                  </a:lnTo>
                  <a:lnTo>
                    <a:pt x="837539" y="80822"/>
                  </a:lnTo>
                  <a:lnTo>
                    <a:pt x="834542" y="86944"/>
                  </a:lnTo>
                  <a:lnTo>
                    <a:pt x="833501" y="93865"/>
                  </a:lnTo>
                  <a:lnTo>
                    <a:pt x="834542" y="100799"/>
                  </a:lnTo>
                  <a:lnTo>
                    <a:pt x="837539" y="106921"/>
                  </a:lnTo>
                  <a:lnTo>
                    <a:pt x="842327" y="111785"/>
                  </a:lnTo>
                  <a:lnTo>
                    <a:pt x="848715" y="114947"/>
                  </a:lnTo>
                  <a:lnTo>
                    <a:pt x="848715" y="134112"/>
                  </a:lnTo>
                  <a:lnTo>
                    <a:pt x="851573" y="136982"/>
                  </a:lnTo>
                  <a:lnTo>
                    <a:pt x="858227" y="136982"/>
                  </a:lnTo>
                  <a:lnTo>
                    <a:pt x="861085" y="134112"/>
                  </a:lnTo>
                  <a:lnTo>
                    <a:pt x="861085" y="114947"/>
                  </a:lnTo>
                  <a:lnTo>
                    <a:pt x="867067" y="111785"/>
                  </a:lnTo>
                  <a:lnTo>
                    <a:pt x="871893" y="106921"/>
                  </a:lnTo>
                  <a:lnTo>
                    <a:pt x="874229" y="102489"/>
                  </a:lnTo>
                  <a:lnTo>
                    <a:pt x="875118" y="100799"/>
                  </a:lnTo>
                  <a:lnTo>
                    <a:pt x="876287" y="93865"/>
                  </a:lnTo>
                  <a:lnTo>
                    <a:pt x="875118" y="86944"/>
                  </a:lnTo>
                  <a:lnTo>
                    <a:pt x="874217" y="85255"/>
                  </a:lnTo>
                  <a:lnTo>
                    <a:pt x="871893" y="80822"/>
                  </a:lnTo>
                  <a:lnTo>
                    <a:pt x="867067" y="75958"/>
                  </a:lnTo>
                  <a:lnTo>
                    <a:pt x="863930" y="74307"/>
                  </a:lnTo>
                  <a:lnTo>
                    <a:pt x="863930" y="89090"/>
                  </a:lnTo>
                  <a:lnTo>
                    <a:pt x="863930" y="98653"/>
                  </a:lnTo>
                  <a:lnTo>
                    <a:pt x="860132" y="102489"/>
                  </a:lnTo>
                  <a:lnTo>
                    <a:pt x="849668" y="102489"/>
                  </a:lnTo>
                  <a:lnTo>
                    <a:pt x="845858" y="98653"/>
                  </a:lnTo>
                  <a:lnTo>
                    <a:pt x="845858" y="89090"/>
                  </a:lnTo>
                  <a:lnTo>
                    <a:pt x="849668" y="85255"/>
                  </a:lnTo>
                  <a:lnTo>
                    <a:pt x="860132" y="85255"/>
                  </a:lnTo>
                  <a:lnTo>
                    <a:pt x="863930" y="89090"/>
                  </a:lnTo>
                  <a:lnTo>
                    <a:pt x="863930" y="74307"/>
                  </a:lnTo>
                  <a:lnTo>
                    <a:pt x="861085" y="72796"/>
                  </a:lnTo>
                  <a:lnTo>
                    <a:pt x="861085" y="10528"/>
                  </a:lnTo>
                  <a:lnTo>
                    <a:pt x="871537" y="10528"/>
                  </a:lnTo>
                  <a:lnTo>
                    <a:pt x="874382" y="7658"/>
                  </a:lnTo>
                  <a:lnTo>
                    <a:pt x="874382" y="0"/>
                  </a:lnTo>
                  <a:lnTo>
                    <a:pt x="814489" y="0"/>
                  </a:lnTo>
                  <a:lnTo>
                    <a:pt x="814489" y="131229"/>
                  </a:lnTo>
                  <a:lnTo>
                    <a:pt x="814489" y="155181"/>
                  </a:lnTo>
                  <a:lnTo>
                    <a:pt x="809726" y="159956"/>
                  </a:lnTo>
                  <a:lnTo>
                    <a:pt x="797369" y="159956"/>
                  </a:lnTo>
                  <a:lnTo>
                    <a:pt x="797369" y="126441"/>
                  </a:lnTo>
                  <a:lnTo>
                    <a:pt x="809726" y="126441"/>
                  </a:lnTo>
                  <a:lnTo>
                    <a:pt x="814489" y="131229"/>
                  </a:lnTo>
                  <a:lnTo>
                    <a:pt x="814489" y="0"/>
                  </a:lnTo>
                  <a:lnTo>
                    <a:pt x="548284" y="0"/>
                  </a:lnTo>
                  <a:lnTo>
                    <a:pt x="548284" y="7658"/>
                  </a:lnTo>
                  <a:lnTo>
                    <a:pt x="551141" y="10528"/>
                  </a:lnTo>
                  <a:lnTo>
                    <a:pt x="603427" y="10528"/>
                  </a:lnTo>
                  <a:lnTo>
                    <a:pt x="603427" y="26822"/>
                  </a:lnTo>
                  <a:lnTo>
                    <a:pt x="606285" y="29692"/>
                  </a:lnTo>
                  <a:lnTo>
                    <a:pt x="612940" y="29692"/>
                  </a:lnTo>
                  <a:lnTo>
                    <a:pt x="615784" y="26822"/>
                  </a:lnTo>
                  <a:lnTo>
                    <a:pt x="615784" y="10528"/>
                  </a:lnTo>
                  <a:lnTo>
                    <a:pt x="806881" y="10528"/>
                  </a:lnTo>
                  <a:lnTo>
                    <a:pt x="806881" y="86207"/>
                  </a:lnTo>
                  <a:lnTo>
                    <a:pt x="806881" y="98653"/>
                  </a:lnTo>
                  <a:lnTo>
                    <a:pt x="806881" y="113995"/>
                  </a:lnTo>
                  <a:lnTo>
                    <a:pt x="797369" y="113995"/>
                  </a:lnTo>
                  <a:lnTo>
                    <a:pt x="797369" y="98653"/>
                  </a:lnTo>
                  <a:lnTo>
                    <a:pt x="806881" y="98653"/>
                  </a:lnTo>
                  <a:lnTo>
                    <a:pt x="806881" y="86207"/>
                  </a:lnTo>
                  <a:lnTo>
                    <a:pt x="785012" y="86207"/>
                  </a:lnTo>
                  <a:lnTo>
                    <a:pt x="785012" y="98653"/>
                  </a:lnTo>
                  <a:lnTo>
                    <a:pt x="785012" y="154216"/>
                  </a:lnTo>
                  <a:lnTo>
                    <a:pt x="779183" y="182714"/>
                  </a:lnTo>
                  <a:lnTo>
                    <a:pt x="763270" y="206184"/>
                  </a:lnTo>
                  <a:lnTo>
                    <a:pt x="739698" y="222110"/>
                  </a:lnTo>
                  <a:lnTo>
                    <a:pt x="735584" y="222948"/>
                  </a:lnTo>
                  <a:lnTo>
                    <a:pt x="735584" y="237553"/>
                  </a:lnTo>
                  <a:lnTo>
                    <a:pt x="735584" y="259588"/>
                  </a:lnTo>
                  <a:lnTo>
                    <a:pt x="710857" y="284492"/>
                  </a:lnTo>
                  <a:lnTo>
                    <a:pt x="702297" y="275526"/>
                  </a:lnTo>
                  <a:lnTo>
                    <a:pt x="702297" y="293116"/>
                  </a:lnTo>
                  <a:lnTo>
                    <a:pt x="680440" y="315150"/>
                  </a:lnTo>
                  <a:lnTo>
                    <a:pt x="670039" y="291198"/>
                  </a:lnTo>
                  <a:lnTo>
                    <a:pt x="667118" y="284492"/>
                  </a:lnTo>
                  <a:lnTo>
                    <a:pt x="680440" y="272034"/>
                  </a:lnTo>
                  <a:lnTo>
                    <a:pt x="702297" y="293116"/>
                  </a:lnTo>
                  <a:lnTo>
                    <a:pt x="702297" y="275526"/>
                  </a:lnTo>
                  <a:lnTo>
                    <a:pt x="698969" y="272034"/>
                  </a:lnTo>
                  <a:lnTo>
                    <a:pt x="687095" y="259588"/>
                  </a:lnTo>
                  <a:lnTo>
                    <a:pt x="687095" y="237553"/>
                  </a:lnTo>
                  <a:lnTo>
                    <a:pt x="694702" y="239471"/>
                  </a:lnTo>
                  <a:lnTo>
                    <a:pt x="703249" y="240423"/>
                  </a:lnTo>
                  <a:lnTo>
                    <a:pt x="719416" y="240423"/>
                  </a:lnTo>
                  <a:lnTo>
                    <a:pt x="727976" y="239471"/>
                  </a:lnTo>
                  <a:lnTo>
                    <a:pt x="735584" y="237553"/>
                  </a:lnTo>
                  <a:lnTo>
                    <a:pt x="735584" y="222948"/>
                  </a:lnTo>
                  <a:lnTo>
                    <a:pt x="710857" y="227977"/>
                  </a:lnTo>
                  <a:lnTo>
                    <a:pt x="682574" y="222110"/>
                  </a:lnTo>
                  <a:lnTo>
                    <a:pt x="659282" y="206184"/>
                  </a:lnTo>
                  <a:lnTo>
                    <a:pt x="643483" y="182714"/>
                  </a:lnTo>
                  <a:lnTo>
                    <a:pt x="638822" y="159956"/>
                  </a:lnTo>
                  <a:lnTo>
                    <a:pt x="637654" y="154216"/>
                  </a:lnTo>
                  <a:lnTo>
                    <a:pt x="637654" y="126441"/>
                  </a:lnTo>
                  <a:lnTo>
                    <a:pt x="637654" y="113995"/>
                  </a:lnTo>
                  <a:lnTo>
                    <a:pt x="637654" y="98653"/>
                  </a:lnTo>
                  <a:lnTo>
                    <a:pt x="785012" y="98653"/>
                  </a:lnTo>
                  <a:lnTo>
                    <a:pt x="785012" y="86207"/>
                  </a:lnTo>
                  <a:lnTo>
                    <a:pt x="625297" y="86207"/>
                  </a:lnTo>
                  <a:lnTo>
                    <a:pt x="625297" y="98653"/>
                  </a:lnTo>
                  <a:lnTo>
                    <a:pt x="625297" y="113995"/>
                  </a:lnTo>
                  <a:lnTo>
                    <a:pt x="625297" y="126441"/>
                  </a:lnTo>
                  <a:lnTo>
                    <a:pt x="625297" y="159956"/>
                  </a:lnTo>
                  <a:lnTo>
                    <a:pt x="612940" y="159956"/>
                  </a:lnTo>
                  <a:lnTo>
                    <a:pt x="608177" y="155181"/>
                  </a:lnTo>
                  <a:lnTo>
                    <a:pt x="608177" y="131229"/>
                  </a:lnTo>
                  <a:lnTo>
                    <a:pt x="612940" y="126441"/>
                  </a:lnTo>
                  <a:lnTo>
                    <a:pt x="625297" y="126441"/>
                  </a:lnTo>
                  <a:lnTo>
                    <a:pt x="625297" y="113995"/>
                  </a:lnTo>
                  <a:lnTo>
                    <a:pt x="615784" y="113995"/>
                  </a:lnTo>
                  <a:lnTo>
                    <a:pt x="615784" y="98653"/>
                  </a:lnTo>
                  <a:lnTo>
                    <a:pt x="625297" y="98653"/>
                  </a:lnTo>
                  <a:lnTo>
                    <a:pt x="625297" y="86207"/>
                  </a:lnTo>
                  <a:lnTo>
                    <a:pt x="615784" y="86207"/>
                  </a:lnTo>
                  <a:lnTo>
                    <a:pt x="615784" y="49809"/>
                  </a:lnTo>
                  <a:lnTo>
                    <a:pt x="612940" y="46939"/>
                  </a:lnTo>
                  <a:lnTo>
                    <a:pt x="606285" y="46939"/>
                  </a:lnTo>
                  <a:lnTo>
                    <a:pt x="603427" y="49809"/>
                  </a:lnTo>
                  <a:lnTo>
                    <a:pt x="603427" y="119735"/>
                  </a:lnTo>
                  <a:lnTo>
                    <a:pt x="598678" y="124523"/>
                  </a:lnTo>
                  <a:lnTo>
                    <a:pt x="595820" y="130263"/>
                  </a:lnTo>
                  <a:lnTo>
                    <a:pt x="595820" y="149428"/>
                  </a:lnTo>
                  <a:lnTo>
                    <a:pt x="597649" y="158838"/>
                  </a:lnTo>
                  <a:lnTo>
                    <a:pt x="602602" y="166433"/>
                  </a:lnTo>
                  <a:lnTo>
                    <a:pt x="609866" y="171526"/>
                  </a:lnTo>
                  <a:lnTo>
                    <a:pt x="618642" y="173380"/>
                  </a:lnTo>
                  <a:lnTo>
                    <a:pt x="627202" y="173380"/>
                  </a:lnTo>
                  <a:lnTo>
                    <a:pt x="633691" y="191935"/>
                  </a:lnTo>
                  <a:lnTo>
                    <a:pt x="644194" y="208343"/>
                  </a:lnTo>
                  <a:lnTo>
                    <a:pt x="658075" y="221869"/>
                  </a:lnTo>
                  <a:lnTo>
                    <a:pt x="674738" y="231813"/>
                  </a:lnTo>
                  <a:lnTo>
                    <a:pt x="674738" y="259588"/>
                  </a:lnTo>
                  <a:lnTo>
                    <a:pt x="655713" y="278752"/>
                  </a:lnTo>
                  <a:lnTo>
                    <a:pt x="586320" y="297903"/>
                  </a:lnTo>
                  <a:lnTo>
                    <a:pt x="564210" y="308051"/>
                  </a:lnTo>
                  <a:lnTo>
                    <a:pt x="547103" y="324485"/>
                  </a:lnTo>
                  <a:lnTo>
                    <a:pt x="536041" y="345592"/>
                  </a:lnTo>
                  <a:lnTo>
                    <a:pt x="532130" y="369747"/>
                  </a:lnTo>
                  <a:lnTo>
                    <a:pt x="532130" y="377405"/>
                  </a:lnTo>
                  <a:lnTo>
                    <a:pt x="534022" y="380288"/>
                  </a:lnTo>
                  <a:lnTo>
                    <a:pt x="541629" y="380288"/>
                  </a:lnTo>
                  <a:lnTo>
                    <a:pt x="544487" y="377405"/>
                  </a:lnTo>
                  <a:lnTo>
                    <a:pt x="544487" y="369747"/>
                  </a:lnTo>
                  <a:lnTo>
                    <a:pt x="547725" y="349821"/>
                  </a:lnTo>
                  <a:lnTo>
                    <a:pt x="556844" y="332511"/>
                  </a:lnTo>
                  <a:lnTo>
                    <a:pt x="570953" y="318960"/>
                  </a:lnTo>
                  <a:lnTo>
                    <a:pt x="589165" y="310349"/>
                  </a:lnTo>
                  <a:lnTo>
                    <a:pt x="631952" y="298856"/>
                  </a:lnTo>
                  <a:lnTo>
                    <a:pt x="654761" y="373583"/>
                  </a:lnTo>
                  <a:lnTo>
                    <a:pt x="655713" y="374535"/>
                  </a:lnTo>
                  <a:lnTo>
                    <a:pt x="655713" y="375488"/>
                  </a:lnTo>
                  <a:lnTo>
                    <a:pt x="656666" y="376453"/>
                  </a:lnTo>
                  <a:lnTo>
                    <a:pt x="696607" y="418604"/>
                  </a:lnTo>
                  <a:lnTo>
                    <a:pt x="609130" y="418604"/>
                  </a:lnTo>
                  <a:lnTo>
                    <a:pt x="609130" y="394652"/>
                  </a:lnTo>
                  <a:lnTo>
                    <a:pt x="606285" y="391782"/>
                  </a:lnTo>
                  <a:lnTo>
                    <a:pt x="598678" y="391782"/>
                  </a:lnTo>
                  <a:lnTo>
                    <a:pt x="595820" y="394652"/>
                  </a:lnTo>
                  <a:lnTo>
                    <a:pt x="595820" y="418604"/>
                  </a:lnTo>
                  <a:lnTo>
                    <a:pt x="544487" y="418604"/>
                  </a:lnTo>
                  <a:lnTo>
                    <a:pt x="544487" y="400392"/>
                  </a:lnTo>
                  <a:lnTo>
                    <a:pt x="541629" y="397522"/>
                  </a:lnTo>
                  <a:lnTo>
                    <a:pt x="534022" y="397522"/>
                  </a:lnTo>
                  <a:lnTo>
                    <a:pt x="532130" y="400392"/>
                  </a:lnTo>
                  <a:lnTo>
                    <a:pt x="532130" y="428180"/>
                  </a:lnTo>
                  <a:lnTo>
                    <a:pt x="534022" y="431050"/>
                  </a:lnTo>
                  <a:lnTo>
                    <a:pt x="887691" y="431050"/>
                  </a:lnTo>
                  <a:lnTo>
                    <a:pt x="887717" y="418604"/>
                  </a:lnTo>
                  <a:lnTo>
                    <a:pt x="887691" y="397522"/>
                  </a:lnTo>
                  <a:lnTo>
                    <a:pt x="881037" y="397522"/>
                  </a:lnTo>
                  <a:lnTo>
                    <a:pt x="878192" y="400392"/>
                  </a:lnTo>
                  <a:lnTo>
                    <a:pt x="878192" y="418604"/>
                  </a:lnTo>
                  <a:lnTo>
                    <a:pt x="826846" y="418604"/>
                  </a:lnTo>
                  <a:lnTo>
                    <a:pt x="826846" y="394652"/>
                  </a:lnTo>
                  <a:lnTo>
                    <a:pt x="824001" y="391782"/>
                  </a:lnTo>
                  <a:lnTo>
                    <a:pt x="816394" y="391782"/>
                  </a:lnTo>
                  <a:lnTo>
                    <a:pt x="813536" y="394652"/>
                  </a:lnTo>
                  <a:lnTo>
                    <a:pt x="813536" y="418604"/>
                  </a:lnTo>
                  <a:lnTo>
                    <a:pt x="726071" y="418604"/>
                  </a:lnTo>
                  <a:lnTo>
                    <a:pt x="728789" y="415721"/>
                  </a:lnTo>
                  <a:lnTo>
                    <a:pt x="758748" y="384111"/>
                  </a:lnTo>
                  <a:lnTo>
                    <a:pt x="766000" y="376453"/>
                  </a:lnTo>
                  <a:lnTo>
                    <a:pt x="766953" y="375488"/>
                  </a:lnTo>
                  <a:lnTo>
                    <a:pt x="766953" y="374535"/>
                  </a:lnTo>
                  <a:lnTo>
                    <a:pt x="767905" y="373583"/>
                  </a:lnTo>
                  <a:lnTo>
                    <a:pt x="790727" y="298856"/>
                  </a:lnTo>
                  <a:lnTo>
                    <a:pt x="833501" y="310349"/>
                  </a:lnTo>
                  <a:lnTo>
                    <a:pt x="851712" y="318960"/>
                  </a:lnTo>
                  <a:lnTo>
                    <a:pt x="865835" y="332511"/>
                  </a:lnTo>
                  <a:lnTo>
                    <a:pt x="874953" y="349821"/>
                  </a:lnTo>
                  <a:lnTo>
                    <a:pt x="878192" y="369747"/>
                  </a:lnTo>
                  <a:lnTo>
                    <a:pt x="878192" y="377405"/>
                  </a:lnTo>
                  <a:lnTo>
                    <a:pt x="881037" y="380288"/>
                  </a:lnTo>
                  <a:lnTo>
                    <a:pt x="887691" y="380288"/>
                  </a:lnTo>
                  <a:lnTo>
                    <a:pt x="887717" y="352348"/>
                  </a:lnTo>
                  <a:close/>
                </a:path>
              </a:pathLst>
            </a:custGeom>
            <a:solidFill>
              <a:srgbClr val="0082C7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8" name="object 110"/>
            <p:cNvSpPr/>
            <p:nvPr/>
          </p:nvSpPr>
          <p:spPr>
            <a:xfrm>
              <a:off x="4539098" y="5489194"/>
              <a:ext cx="355600" cy="355600"/>
            </a:xfrm>
            <a:custGeom>
              <a:avLst/>
              <a:gdLst/>
              <a:ahLst/>
              <a:cxnLst/>
              <a:rect l="l" t="t" r="r" b="b"/>
              <a:pathLst>
                <a:path w="355600" h="355600">
                  <a:moveTo>
                    <a:pt x="62629" y="183583"/>
                  </a:moveTo>
                  <a:lnTo>
                    <a:pt x="41712" y="183583"/>
                  </a:lnTo>
                  <a:lnTo>
                    <a:pt x="41712" y="350987"/>
                  </a:lnTo>
                  <a:lnTo>
                    <a:pt x="46323" y="355599"/>
                  </a:lnTo>
                  <a:lnTo>
                    <a:pt x="311860" y="355599"/>
                  </a:lnTo>
                  <a:lnTo>
                    <a:pt x="316477" y="350987"/>
                  </a:lnTo>
                  <a:lnTo>
                    <a:pt x="316477" y="333866"/>
                  </a:lnTo>
                  <a:lnTo>
                    <a:pt x="62629" y="333866"/>
                  </a:lnTo>
                  <a:lnTo>
                    <a:pt x="62629" y="183583"/>
                  </a:lnTo>
                  <a:close/>
                </a:path>
                <a:path w="355600" h="355600">
                  <a:moveTo>
                    <a:pt x="238512" y="229237"/>
                  </a:moveTo>
                  <a:lnTo>
                    <a:pt x="119673" y="229237"/>
                  </a:lnTo>
                  <a:lnTo>
                    <a:pt x="114919" y="233993"/>
                  </a:lnTo>
                  <a:lnTo>
                    <a:pt x="114919" y="333866"/>
                  </a:lnTo>
                  <a:lnTo>
                    <a:pt x="135829" y="333866"/>
                  </a:lnTo>
                  <a:lnTo>
                    <a:pt x="135829" y="250162"/>
                  </a:lnTo>
                  <a:lnTo>
                    <a:pt x="243273" y="250162"/>
                  </a:lnTo>
                  <a:lnTo>
                    <a:pt x="243273" y="233993"/>
                  </a:lnTo>
                  <a:lnTo>
                    <a:pt x="238512" y="229237"/>
                  </a:lnTo>
                  <a:close/>
                </a:path>
                <a:path w="355600" h="355600">
                  <a:moveTo>
                    <a:pt x="243273" y="250162"/>
                  </a:moveTo>
                  <a:lnTo>
                    <a:pt x="222354" y="250162"/>
                  </a:lnTo>
                  <a:lnTo>
                    <a:pt x="222354" y="333866"/>
                  </a:lnTo>
                  <a:lnTo>
                    <a:pt x="243273" y="333866"/>
                  </a:lnTo>
                  <a:lnTo>
                    <a:pt x="243273" y="250162"/>
                  </a:lnTo>
                  <a:close/>
                </a:path>
                <a:path w="355600" h="355600">
                  <a:moveTo>
                    <a:pt x="210805" y="68487"/>
                  </a:moveTo>
                  <a:lnTo>
                    <a:pt x="179567" y="68487"/>
                  </a:lnTo>
                  <a:lnTo>
                    <a:pt x="295558" y="168368"/>
                  </a:lnTo>
                  <a:lnTo>
                    <a:pt x="295558" y="333866"/>
                  </a:lnTo>
                  <a:lnTo>
                    <a:pt x="316477" y="333866"/>
                  </a:lnTo>
                  <a:lnTo>
                    <a:pt x="316477" y="183583"/>
                  </a:lnTo>
                  <a:lnTo>
                    <a:pt x="337446" y="183583"/>
                  </a:lnTo>
                  <a:lnTo>
                    <a:pt x="343884" y="180638"/>
                  </a:lnTo>
                  <a:lnTo>
                    <a:pt x="350705" y="174068"/>
                  </a:lnTo>
                  <a:lnTo>
                    <a:pt x="355479" y="169292"/>
                  </a:lnTo>
                  <a:lnTo>
                    <a:pt x="355479" y="165504"/>
                  </a:lnTo>
                  <a:lnTo>
                    <a:pt x="325025" y="165504"/>
                  </a:lnTo>
                  <a:lnTo>
                    <a:pt x="320276" y="161704"/>
                  </a:lnTo>
                  <a:lnTo>
                    <a:pt x="210805" y="68487"/>
                  </a:lnTo>
                  <a:close/>
                </a:path>
                <a:path w="355600" h="355600">
                  <a:moveTo>
                    <a:pt x="337446" y="183583"/>
                  </a:moveTo>
                  <a:lnTo>
                    <a:pt x="316477" y="183583"/>
                  </a:lnTo>
                  <a:lnTo>
                    <a:pt x="325969" y="185572"/>
                  </a:lnTo>
                  <a:lnTo>
                    <a:pt x="335372" y="184531"/>
                  </a:lnTo>
                  <a:lnTo>
                    <a:pt x="337446" y="183583"/>
                  </a:lnTo>
                  <a:close/>
                </a:path>
                <a:path w="355600" h="355600">
                  <a:moveTo>
                    <a:pt x="193362" y="0"/>
                  </a:moveTo>
                  <a:lnTo>
                    <a:pt x="166341" y="0"/>
                  </a:lnTo>
                  <a:lnTo>
                    <a:pt x="159597" y="3813"/>
                  </a:lnTo>
                  <a:lnTo>
                    <a:pt x="10339" y="129360"/>
                  </a:lnTo>
                  <a:lnTo>
                    <a:pt x="3075" y="139289"/>
                  </a:lnTo>
                  <a:lnTo>
                    <a:pt x="0" y="151002"/>
                  </a:lnTo>
                  <a:lnTo>
                    <a:pt x="1381" y="163071"/>
                  </a:lnTo>
                  <a:lnTo>
                    <a:pt x="7486" y="174068"/>
                  </a:lnTo>
                  <a:lnTo>
                    <a:pt x="14706" y="180504"/>
                  </a:lnTo>
                  <a:lnTo>
                    <a:pt x="23174" y="184175"/>
                  </a:lnTo>
                  <a:lnTo>
                    <a:pt x="32354" y="185171"/>
                  </a:lnTo>
                  <a:lnTo>
                    <a:pt x="41712" y="183583"/>
                  </a:lnTo>
                  <a:lnTo>
                    <a:pt x="62629" y="183583"/>
                  </a:lnTo>
                  <a:lnTo>
                    <a:pt x="62629" y="168368"/>
                  </a:lnTo>
                  <a:lnTo>
                    <a:pt x="65981" y="165504"/>
                  </a:lnTo>
                  <a:lnTo>
                    <a:pt x="33156" y="165504"/>
                  </a:lnTo>
                  <a:lnTo>
                    <a:pt x="26501" y="164554"/>
                  </a:lnTo>
                  <a:lnTo>
                    <a:pt x="22698" y="160754"/>
                  </a:lnTo>
                  <a:lnTo>
                    <a:pt x="18895" y="155990"/>
                  </a:lnTo>
                  <a:lnTo>
                    <a:pt x="19846" y="149339"/>
                  </a:lnTo>
                  <a:lnTo>
                    <a:pt x="23649" y="145538"/>
                  </a:lnTo>
                  <a:lnTo>
                    <a:pt x="172919" y="19978"/>
                  </a:lnTo>
                  <a:lnTo>
                    <a:pt x="176717" y="16177"/>
                  </a:lnTo>
                  <a:lnTo>
                    <a:pt x="215213" y="16177"/>
                  </a:lnTo>
                  <a:lnTo>
                    <a:pt x="200486" y="3813"/>
                  </a:lnTo>
                  <a:lnTo>
                    <a:pt x="193362" y="0"/>
                  </a:lnTo>
                  <a:close/>
                </a:path>
                <a:path w="355600" h="355600">
                  <a:moveTo>
                    <a:pt x="182416" y="43757"/>
                  </a:moveTo>
                  <a:lnTo>
                    <a:pt x="176717" y="43757"/>
                  </a:lnTo>
                  <a:lnTo>
                    <a:pt x="172919" y="46608"/>
                  </a:lnTo>
                  <a:lnTo>
                    <a:pt x="150750" y="65799"/>
                  </a:lnTo>
                  <a:lnTo>
                    <a:pt x="59004" y="144123"/>
                  </a:lnTo>
                  <a:lnTo>
                    <a:pt x="37910" y="161704"/>
                  </a:lnTo>
                  <a:lnTo>
                    <a:pt x="33156" y="165504"/>
                  </a:lnTo>
                  <a:lnTo>
                    <a:pt x="65981" y="165504"/>
                  </a:lnTo>
                  <a:lnTo>
                    <a:pt x="179567" y="68487"/>
                  </a:lnTo>
                  <a:lnTo>
                    <a:pt x="210805" y="68487"/>
                  </a:lnTo>
                  <a:lnTo>
                    <a:pt x="186227" y="47558"/>
                  </a:lnTo>
                  <a:lnTo>
                    <a:pt x="182416" y="43757"/>
                  </a:lnTo>
                  <a:close/>
                </a:path>
                <a:path w="355600" h="355600">
                  <a:moveTo>
                    <a:pt x="215213" y="16177"/>
                  </a:moveTo>
                  <a:lnTo>
                    <a:pt x="182416" y="16177"/>
                  </a:lnTo>
                  <a:lnTo>
                    <a:pt x="186227" y="19978"/>
                  </a:lnTo>
                  <a:lnTo>
                    <a:pt x="333585" y="145538"/>
                  </a:lnTo>
                  <a:lnTo>
                    <a:pt x="338346" y="149339"/>
                  </a:lnTo>
                  <a:lnTo>
                    <a:pt x="339296" y="155990"/>
                  </a:lnTo>
                  <a:lnTo>
                    <a:pt x="335484" y="160754"/>
                  </a:lnTo>
                  <a:lnTo>
                    <a:pt x="331685" y="164554"/>
                  </a:lnTo>
                  <a:lnTo>
                    <a:pt x="325025" y="165504"/>
                  </a:lnTo>
                  <a:lnTo>
                    <a:pt x="355479" y="165504"/>
                  </a:lnTo>
                  <a:lnTo>
                    <a:pt x="355479" y="137026"/>
                  </a:lnTo>
                  <a:lnTo>
                    <a:pt x="354504" y="135074"/>
                  </a:lnTo>
                  <a:lnTo>
                    <a:pt x="316477" y="102731"/>
                  </a:lnTo>
                  <a:lnTo>
                    <a:pt x="316477" y="84652"/>
                  </a:lnTo>
                  <a:lnTo>
                    <a:pt x="295558" y="84652"/>
                  </a:lnTo>
                  <a:lnTo>
                    <a:pt x="274639" y="66587"/>
                  </a:lnTo>
                  <a:lnTo>
                    <a:pt x="274639" y="48508"/>
                  </a:lnTo>
                  <a:lnTo>
                    <a:pt x="253720" y="48508"/>
                  </a:lnTo>
                  <a:lnTo>
                    <a:pt x="215213" y="16177"/>
                  </a:lnTo>
                  <a:close/>
                </a:path>
                <a:path w="355600" h="355600">
                  <a:moveTo>
                    <a:pt x="316477" y="38056"/>
                  </a:moveTo>
                  <a:lnTo>
                    <a:pt x="295558" y="38056"/>
                  </a:lnTo>
                  <a:lnTo>
                    <a:pt x="295558" y="84652"/>
                  </a:lnTo>
                  <a:lnTo>
                    <a:pt x="316477" y="84652"/>
                  </a:lnTo>
                  <a:lnTo>
                    <a:pt x="316477" y="38056"/>
                  </a:lnTo>
                  <a:close/>
                </a:path>
                <a:path w="355600" h="355600">
                  <a:moveTo>
                    <a:pt x="311716" y="17128"/>
                  </a:moveTo>
                  <a:lnTo>
                    <a:pt x="258481" y="17128"/>
                  </a:lnTo>
                  <a:lnTo>
                    <a:pt x="253720" y="21878"/>
                  </a:lnTo>
                  <a:lnTo>
                    <a:pt x="253720" y="48508"/>
                  </a:lnTo>
                  <a:lnTo>
                    <a:pt x="274639" y="48508"/>
                  </a:lnTo>
                  <a:lnTo>
                    <a:pt x="274639" y="38056"/>
                  </a:lnTo>
                  <a:lnTo>
                    <a:pt x="316477" y="38056"/>
                  </a:lnTo>
                  <a:lnTo>
                    <a:pt x="316477" y="21878"/>
                  </a:lnTo>
                  <a:lnTo>
                    <a:pt x="311716" y="17128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pic>
          <p:nvPicPr>
            <p:cNvPr id="39" name="object 111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4675890" y="5610953"/>
              <a:ext cx="85562" cy="84652"/>
            </a:xfrm>
            <a:prstGeom prst="rect">
              <a:avLst/>
            </a:prstGeom>
          </p:spPr>
        </p:pic>
        <p:sp>
          <p:nvSpPr>
            <p:cNvPr id="40" name="object 112"/>
            <p:cNvSpPr/>
            <p:nvPr/>
          </p:nvSpPr>
          <p:spPr>
            <a:xfrm>
              <a:off x="4718665" y="5760283"/>
              <a:ext cx="20955" cy="20955"/>
            </a:xfrm>
            <a:custGeom>
              <a:avLst/>
              <a:gdLst/>
              <a:ahLst/>
              <a:cxnLst/>
              <a:rect l="l" t="t" r="r" b="b"/>
              <a:pathLst>
                <a:path w="20954" h="20954">
                  <a:moveTo>
                    <a:pt x="16170" y="0"/>
                  </a:moveTo>
                  <a:lnTo>
                    <a:pt x="10459" y="0"/>
                  </a:lnTo>
                  <a:lnTo>
                    <a:pt x="4761" y="0"/>
                  </a:lnTo>
                  <a:lnTo>
                    <a:pt x="0" y="4755"/>
                  </a:lnTo>
                  <a:lnTo>
                    <a:pt x="0" y="16170"/>
                  </a:lnTo>
                  <a:lnTo>
                    <a:pt x="4761" y="20926"/>
                  </a:lnTo>
                  <a:lnTo>
                    <a:pt x="16170" y="20926"/>
                  </a:lnTo>
                  <a:lnTo>
                    <a:pt x="20919" y="16170"/>
                  </a:lnTo>
                  <a:lnTo>
                    <a:pt x="20919" y="4755"/>
                  </a:lnTo>
                  <a:lnTo>
                    <a:pt x="16170" y="0"/>
                  </a:lnTo>
                  <a:close/>
                </a:path>
              </a:pathLst>
            </a:custGeom>
            <a:solidFill>
              <a:srgbClr val="EF5A28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41" name="object 11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1627971" y="632875"/>
            <a:ext cx="447409" cy="466460"/>
          </a:xfrm>
          <a:prstGeom prst="rect">
            <a:avLst/>
          </a:prstGeom>
          <a:solidFill>
            <a:srgbClr val="4F9B43"/>
          </a:solidFill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DIkm1Yk.UtmfRFq8IH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QlCvXbiEC7e3IcSMvXj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E5kHx1XUWUzoWLelWVi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heme/theme1.xml><?xml version="1.0" encoding="utf-8"?>
<a:theme xmlns:a="http://schemas.openxmlformats.org/drawingml/2006/main" name="слайд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4</TotalTime>
  <Words>1047</Words>
  <Application>Microsoft Office PowerPoint</Application>
  <PresentationFormat>Экран (4:3)</PresentationFormat>
  <Paragraphs>426</Paragraphs>
  <Slides>20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1" baseType="lpstr">
      <vt:lpstr>слайд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User</dc:creator>
  <cp:lastModifiedBy>ZhSuNA</cp:lastModifiedBy>
  <cp:revision>224</cp:revision>
  <dcterms:created xsi:type="dcterms:W3CDTF">2019-02-21T15:01:25Z</dcterms:created>
  <dcterms:modified xsi:type="dcterms:W3CDTF">2021-12-03T13:04:18Z</dcterms:modified>
</cp:coreProperties>
</file>